
<file path=[Content_Types].xml><?xml version="1.0" encoding="utf-8"?>
<Types xmlns="http://schemas.openxmlformats.org/package/2006/content-types"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94" r:id="rId4"/>
  </p:sldMasterIdLst>
  <p:notesMasterIdLst>
    <p:notesMasterId r:id="rId20"/>
  </p:notesMasterIdLst>
  <p:sldIdLst>
    <p:sldId id="4685" r:id="rId5"/>
    <p:sldId id="4737" r:id="rId6"/>
    <p:sldId id="4739" r:id="rId7"/>
    <p:sldId id="1286" r:id="rId8"/>
    <p:sldId id="4740" r:id="rId9"/>
    <p:sldId id="4741" r:id="rId10"/>
    <p:sldId id="4742" r:id="rId11"/>
    <p:sldId id="4743" r:id="rId12"/>
    <p:sldId id="4751" r:id="rId13"/>
    <p:sldId id="4746" r:id="rId14"/>
    <p:sldId id="4747" r:id="rId15"/>
    <p:sldId id="4748" r:id="rId16"/>
    <p:sldId id="4749" r:id="rId17"/>
    <p:sldId id="4221" r:id="rId18"/>
    <p:sldId id="4753" r:id="rId19"/>
  </p:sldIdLst>
  <p:sldSz cx="9144000" cy="5143500" type="screen16x9"/>
  <p:notesSz cx="10020300" cy="6888163"/>
  <p:embeddedFontLst>
    <p:embeddedFont>
      <p:font typeface="Epilogue" panose="020B0604020202020204" charset="0"/>
      <p:regular r:id="rId21"/>
      <p:bold r:id="rId22"/>
      <p:italic r:id="rId23"/>
      <p:boldItalic r:id="rId24"/>
    </p:embeddedFont>
    <p:embeddedFont>
      <p:font typeface="Nunito Light" pitchFamily="2" charset="0"/>
      <p:regular r:id="rId25"/>
      <p:italic r:id="rId26"/>
    </p:embeddedFont>
  </p:embeddedFont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38DC"/>
    <a:srgbClr val="FF5050"/>
    <a:srgbClr val="41D3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6DD2ECC-9456-4CA8-96C3-55FC563FACEC}" v="29" dt="2024-08-08T12:06:27.423"/>
    <p1510:client id="{B28C0210-3B9E-4DA8-A101-FCED063439D0}" v="123" dt="2024-08-08T12:30:02.007"/>
  </p1510:revLst>
</p1510:revInfo>
</file>

<file path=ppt/tableStyles.xml><?xml version="1.0" encoding="utf-8"?>
<a:tblStyleLst xmlns:a="http://schemas.openxmlformats.org/drawingml/2006/main" def="{6EAAD5D9-5307-471F-B0EC-63FAA49B768C}">
  <a:tblStyle styleId="{6EAAD5D9-5307-471F-B0EC-63FAA49B768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203" d="100"/>
          <a:sy n="203" d="100"/>
        </p:scale>
        <p:origin x="580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6.fntdata"/><Relationship Id="rId3" Type="http://schemas.openxmlformats.org/officeDocument/2006/relationships/customXml" Target="../customXml/item3.xml"/><Relationship Id="rId21" Type="http://schemas.openxmlformats.org/officeDocument/2006/relationships/font" Target="fonts/font1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5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3.fntdata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2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6D2152D-A4A4-49AD-9D7B-B039EF8DE3D1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03838A82-42BD-4BDD-92F8-732397292CAE}">
      <dgm:prSet phldrT="[Texto]"/>
      <dgm:spPr>
        <a:solidFill>
          <a:schemeClr val="accent1">
            <a:lumMod val="75000"/>
          </a:schemeClr>
        </a:solidFill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Fase 1 2003/08</a:t>
          </a:r>
        </a:p>
      </dgm:t>
    </dgm:pt>
    <dgm:pt modelId="{D594DC03-2D7C-4C9A-BCC7-83F3F28D17F0}" type="parTrans" cxnId="{F99FDDD9-49BC-4BC8-9CEE-6B231071423A}">
      <dgm:prSet/>
      <dgm:spPr/>
      <dgm:t>
        <a:bodyPr/>
        <a:lstStyle/>
        <a:p>
          <a:endParaRPr lang="pt-BR"/>
        </a:p>
      </dgm:t>
    </dgm:pt>
    <dgm:pt modelId="{00516BF6-0221-47D1-AE6B-B95149697C9D}" type="sibTrans" cxnId="{F99FDDD9-49BC-4BC8-9CEE-6B231071423A}">
      <dgm:prSet/>
      <dgm:spPr>
        <a:solidFill>
          <a:schemeClr val="accent1">
            <a:lumMod val="75000"/>
          </a:schemeClr>
        </a:solidFill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endParaRPr lang="pt-BR"/>
        </a:p>
      </dgm:t>
    </dgm:pt>
    <dgm:pt modelId="{4D26A59F-511B-42F7-841E-ECA9340C2ACD}">
      <dgm:prSet phldrT="[Text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pt-BR" sz="1400" b="1" dirty="0">
              <a:solidFill>
                <a:schemeClr val="accent1">
                  <a:lumMod val="75000"/>
                </a:schemeClr>
              </a:solidFill>
            </a:rPr>
            <a:t>Amplo acervo de conhecimento Produzido</a:t>
          </a:r>
        </a:p>
      </dgm:t>
    </dgm:pt>
    <dgm:pt modelId="{C3DCC974-59F1-48FE-9B0C-3C013B778476}" type="parTrans" cxnId="{2C5EE9C6-5531-4850-A0DA-FF5240E8AA19}">
      <dgm:prSet/>
      <dgm:spPr/>
      <dgm:t>
        <a:bodyPr/>
        <a:lstStyle/>
        <a:p>
          <a:endParaRPr lang="pt-BR"/>
        </a:p>
      </dgm:t>
    </dgm:pt>
    <dgm:pt modelId="{431473DD-6C2B-4BAA-B711-665D75A4914F}" type="sibTrans" cxnId="{2C5EE9C6-5531-4850-A0DA-FF5240E8AA19}">
      <dgm:prSet/>
      <dgm:spPr/>
      <dgm:t>
        <a:bodyPr/>
        <a:lstStyle/>
        <a:p>
          <a:endParaRPr lang="pt-BR"/>
        </a:p>
      </dgm:t>
    </dgm:pt>
    <dgm:pt modelId="{77A89D67-E010-4D1E-8D91-CAC270263633}">
      <dgm:prSet phldrT="[Text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pt-BR" sz="1400" b="1" dirty="0">
              <a:solidFill>
                <a:schemeClr val="accent1">
                  <a:lumMod val="75000"/>
                </a:schemeClr>
              </a:solidFill>
            </a:rPr>
            <a:t>Debate com a sociedade civil</a:t>
          </a:r>
        </a:p>
      </dgm:t>
    </dgm:pt>
    <dgm:pt modelId="{3BC88B6D-A901-41A6-8664-6BAC1D93C40B}" type="parTrans" cxnId="{B3C12DE7-4A8D-42B2-989C-CC25B9BFD698}">
      <dgm:prSet/>
      <dgm:spPr/>
      <dgm:t>
        <a:bodyPr/>
        <a:lstStyle/>
        <a:p>
          <a:endParaRPr lang="pt-BR"/>
        </a:p>
      </dgm:t>
    </dgm:pt>
    <dgm:pt modelId="{04D10F79-E0C2-4366-9C68-BF9D7B54552B}" type="sibTrans" cxnId="{B3C12DE7-4A8D-42B2-989C-CC25B9BFD698}">
      <dgm:prSet/>
      <dgm:spPr/>
      <dgm:t>
        <a:bodyPr/>
        <a:lstStyle/>
        <a:p>
          <a:endParaRPr lang="pt-BR"/>
        </a:p>
      </dgm:t>
    </dgm:pt>
    <dgm:pt modelId="{52BBF82B-93E8-4784-B042-F881629BD0A1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Fase 2</a:t>
          </a:r>
        </a:p>
        <a:p>
          <a:r>
            <a:rPr lang="pt-BR" b="1" dirty="0">
              <a:latin typeface="Epilogue" panose="020B0604020202020204" charset="0"/>
            </a:rPr>
            <a:t>2019/22</a:t>
          </a:r>
        </a:p>
      </dgm:t>
    </dgm:pt>
    <dgm:pt modelId="{866D46F0-2EB1-4507-96AC-A67819141ADD}" type="parTrans" cxnId="{BBEE731E-D616-40EE-8345-D91CBBBA3833}">
      <dgm:prSet/>
      <dgm:spPr/>
      <dgm:t>
        <a:bodyPr/>
        <a:lstStyle/>
        <a:p>
          <a:endParaRPr lang="pt-BR"/>
        </a:p>
      </dgm:t>
    </dgm:pt>
    <dgm:pt modelId="{120F5107-F429-445C-BD7D-43B6E3ED6AC3}" type="sibTrans" cxnId="{BBEE731E-D616-40EE-8345-D91CBBBA3833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7DD02A66-A69A-4053-AA5A-EF92D8B44FE4}">
      <dgm:prSet phldrT="[Text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pt-BR" sz="1400" b="1" dirty="0">
              <a:solidFill>
                <a:schemeClr val="accent1">
                  <a:lumMod val="75000"/>
                </a:schemeClr>
              </a:solidFill>
            </a:rPr>
            <a:t>Textos complementares produzidos (atualização)</a:t>
          </a:r>
        </a:p>
      </dgm:t>
    </dgm:pt>
    <dgm:pt modelId="{432A3B9A-1214-4F5A-AB3E-FED09A1C7466}" type="parTrans" cxnId="{E08CE7C5-6E39-42F6-A97C-81BEB9BD3753}">
      <dgm:prSet/>
      <dgm:spPr/>
      <dgm:t>
        <a:bodyPr/>
        <a:lstStyle/>
        <a:p>
          <a:endParaRPr lang="pt-BR"/>
        </a:p>
      </dgm:t>
    </dgm:pt>
    <dgm:pt modelId="{7D9CA8FE-8A3A-4799-B01C-3724F51ACD28}" type="sibTrans" cxnId="{E08CE7C5-6E39-42F6-A97C-81BEB9BD3753}">
      <dgm:prSet/>
      <dgm:spPr/>
      <dgm:t>
        <a:bodyPr/>
        <a:lstStyle/>
        <a:p>
          <a:endParaRPr lang="pt-BR"/>
        </a:p>
      </dgm:t>
    </dgm:pt>
    <dgm:pt modelId="{9CC2F826-0699-4906-B90D-2714E2E65BE1}">
      <dgm:prSet phldrT="[Text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pt-BR" sz="1400" b="1" dirty="0">
              <a:solidFill>
                <a:schemeClr val="accent1">
                  <a:lumMod val="75000"/>
                </a:schemeClr>
              </a:solidFill>
            </a:rPr>
            <a:t>Minuta de Decreto elaborada</a:t>
          </a:r>
        </a:p>
      </dgm:t>
    </dgm:pt>
    <dgm:pt modelId="{3E55ECD3-69AD-4627-9598-4FDFA4C36E9A}" type="parTrans" cxnId="{4EFF8E8D-791C-41E0-BD86-69C3989F7137}">
      <dgm:prSet/>
      <dgm:spPr/>
      <dgm:t>
        <a:bodyPr/>
        <a:lstStyle/>
        <a:p>
          <a:endParaRPr lang="pt-BR"/>
        </a:p>
      </dgm:t>
    </dgm:pt>
    <dgm:pt modelId="{50887308-5F4A-42CB-B4B5-849BA4067808}" type="sibTrans" cxnId="{4EFF8E8D-791C-41E0-BD86-69C3989F7137}">
      <dgm:prSet/>
      <dgm:spPr/>
      <dgm:t>
        <a:bodyPr/>
        <a:lstStyle/>
        <a:p>
          <a:endParaRPr lang="pt-BR"/>
        </a:p>
      </dgm:t>
    </dgm:pt>
    <dgm:pt modelId="{0F9AD1E9-22E1-47AE-ADC0-5B3448DFC9B4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Fase 3</a:t>
          </a:r>
        </a:p>
        <a:p>
          <a:r>
            <a:rPr lang="pt-BR" b="1" dirty="0">
              <a:latin typeface="Epilogue" panose="020B0604020202020204" charset="0"/>
            </a:rPr>
            <a:t>2023...</a:t>
          </a:r>
        </a:p>
      </dgm:t>
    </dgm:pt>
    <dgm:pt modelId="{C0FB014F-2AE6-4B21-A0C1-3E296E7F36B6}" type="parTrans" cxnId="{02D8DD9C-0B63-49D9-9DC8-45A4F2E02EC1}">
      <dgm:prSet/>
      <dgm:spPr/>
      <dgm:t>
        <a:bodyPr/>
        <a:lstStyle/>
        <a:p>
          <a:endParaRPr lang="pt-BR"/>
        </a:p>
      </dgm:t>
    </dgm:pt>
    <dgm:pt modelId="{F778AE66-0771-4963-9E3E-7BE99DB5D56D}" type="sibTrans" cxnId="{02D8DD9C-0B63-49D9-9DC8-45A4F2E02EC1}">
      <dgm:prSet/>
      <dgm:spPr/>
      <dgm:t>
        <a:bodyPr/>
        <a:lstStyle/>
        <a:p>
          <a:endParaRPr lang="pt-BR"/>
        </a:p>
      </dgm:t>
    </dgm:pt>
    <dgm:pt modelId="{26FC3144-7540-4291-ABCA-7094EDC31944}">
      <dgm:prSet phldrT="[Text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pt-BR" sz="1400" b="1" dirty="0">
              <a:solidFill>
                <a:schemeClr val="accent1">
                  <a:lumMod val="75000"/>
                </a:schemeClr>
              </a:solidFill>
            </a:rPr>
            <a:t>Grupo de Trabalho Interministerial instituído</a:t>
          </a:r>
        </a:p>
      </dgm:t>
    </dgm:pt>
    <dgm:pt modelId="{C18D49F8-1E44-4EB2-9049-D216509577B8}" type="parTrans" cxnId="{06228DF4-CFCF-4473-B7B5-62D62CFB8753}">
      <dgm:prSet/>
      <dgm:spPr/>
      <dgm:t>
        <a:bodyPr/>
        <a:lstStyle/>
        <a:p>
          <a:endParaRPr lang="pt-BR"/>
        </a:p>
      </dgm:t>
    </dgm:pt>
    <dgm:pt modelId="{3E67BF89-387E-4EBE-B879-66E45D99366F}" type="sibTrans" cxnId="{06228DF4-CFCF-4473-B7B5-62D62CFB8753}">
      <dgm:prSet/>
      <dgm:spPr/>
      <dgm:t>
        <a:bodyPr/>
        <a:lstStyle/>
        <a:p>
          <a:endParaRPr lang="pt-BR"/>
        </a:p>
      </dgm:t>
    </dgm:pt>
    <dgm:pt modelId="{43067087-7C4C-458D-9839-3EB807FCB423}">
      <dgm:prSet phldrT="[Text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pt-BR" sz="1400" b="1" dirty="0">
              <a:solidFill>
                <a:schemeClr val="accent1">
                  <a:lumMod val="75000"/>
                </a:schemeClr>
              </a:solidFill>
            </a:rPr>
            <a:t>Projeto de Lei elaborado</a:t>
          </a:r>
        </a:p>
      </dgm:t>
    </dgm:pt>
    <dgm:pt modelId="{58C19AF1-60F0-4C6D-97DA-C0745DD8FADF}" type="parTrans" cxnId="{34AF719A-49F8-4067-B531-597D59BDC5F3}">
      <dgm:prSet/>
      <dgm:spPr/>
      <dgm:t>
        <a:bodyPr/>
        <a:lstStyle/>
        <a:p>
          <a:endParaRPr lang="pt-BR"/>
        </a:p>
      </dgm:t>
    </dgm:pt>
    <dgm:pt modelId="{CA1ADBD2-8D3E-49A2-8BF5-2F824A4FCFEE}" type="sibTrans" cxnId="{34AF719A-49F8-4067-B531-597D59BDC5F3}">
      <dgm:prSet/>
      <dgm:spPr/>
      <dgm:t>
        <a:bodyPr/>
        <a:lstStyle/>
        <a:p>
          <a:endParaRPr lang="pt-BR"/>
        </a:p>
      </dgm:t>
    </dgm:pt>
    <dgm:pt modelId="{00AA769E-8844-41A6-BDBD-10DD47C5CD39}">
      <dgm:prSet phldrT="[Text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pt-BR" sz="1400" b="1" dirty="0">
              <a:solidFill>
                <a:schemeClr val="accent1">
                  <a:lumMod val="75000"/>
                </a:schemeClr>
              </a:solidFill>
            </a:rPr>
            <a:t>Não houve debate com a sociedade</a:t>
          </a:r>
        </a:p>
      </dgm:t>
    </dgm:pt>
    <dgm:pt modelId="{C58E0BAF-2CCC-4DCE-BE50-5FFCBB14ADEA}" type="parTrans" cxnId="{6BEA76C0-86D5-45C3-BF83-4413E051ECDE}">
      <dgm:prSet/>
      <dgm:spPr/>
      <dgm:t>
        <a:bodyPr/>
        <a:lstStyle/>
        <a:p>
          <a:endParaRPr lang="pt-BR"/>
        </a:p>
      </dgm:t>
    </dgm:pt>
    <dgm:pt modelId="{C6B53BFC-C079-4298-A63D-FE942CF9E1E6}" type="sibTrans" cxnId="{6BEA76C0-86D5-45C3-BF83-4413E051ECDE}">
      <dgm:prSet/>
      <dgm:spPr/>
      <dgm:t>
        <a:bodyPr/>
        <a:lstStyle/>
        <a:p>
          <a:endParaRPr lang="pt-BR"/>
        </a:p>
      </dgm:t>
    </dgm:pt>
    <dgm:pt modelId="{962D903D-9960-45D5-B999-D02F4CB20FB4}">
      <dgm:prSet phldrT="[Text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pt-BR" sz="1400" b="1" dirty="0">
              <a:solidFill>
                <a:schemeClr val="accent1">
                  <a:lumMod val="75000"/>
                </a:schemeClr>
              </a:solidFill>
            </a:rPr>
            <a:t>Grupo de Trabalho Interministerial instituído</a:t>
          </a:r>
        </a:p>
      </dgm:t>
    </dgm:pt>
    <dgm:pt modelId="{2CC11EB9-B1C2-4699-9AA7-4661AAE17EF3}" type="parTrans" cxnId="{70FBB607-776F-40FD-8B4F-045CD3287652}">
      <dgm:prSet/>
      <dgm:spPr/>
      <dgm:t>
        <a:bodyPr/>
        <a:lstStyle/>
        <a:p>
          <a:endParaRPr lang="pt-BR"/>
        </a:p>
      </dgm:t>
    </dgm:pt>
    <dgm:pt modelId="{FA80853E-B179-4C0D-8BDD-6085CCA1D1B8}" type="sibTrans" cxnId="{70FBB607-776F-40FD-8B4F-045CD3287652}">
      <dgm:prSet/>
      <dgm:spPr/>
      <dgm:t>
        <a:bodyPr/>
        <a:lstStyle/>
        <a:p>
          <a:endParaRPr lang="pt-BR"/>
        </a:p>
      </dgm:t>
    </dgm:pt>
    <dgm:pt modelId="{35D37E2D-E683-4982-8E02-B3A23CE54DDC}">
      <dgm:prSet phldrT="[Text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pt-BR" sz="1400" b="1" dirty="0">
              <a:solidFill>
                <a:schemeClr val="accent1">
                  <a:lumMod val="75000"/>
                </a:schemeClr>
              </a:solidFill>
            </a:rPr>
            <a:t>Não houve trabalho governamental integrado institucionalizado</a:t>
          </a:r>
        </a:p>
      </dgm:t>
    </dgm:pt>
    <dgm:pt modelId="{C7F526B6-39F8-489C-89C0-8E071138BA5E}" type="parTrans" cxnId="{7914C9BE-0F5E-46BC-9A07-E0A6EA853769}">
      <dgm:prSet/>
      <dgm:spPr/>
      <dgm:t>
        <a:bodyPr/>
        <a:lstStyle/>
        <a:p>
          <a:endParaRPr lang="pt-BR"/>
        </a:p>
      </dgm:t>
    </dgm:pt>
    <dgm:pt modelId="{8E4CC466-7CE0-451A-93FF-5CFBE59DF011}" type="sibTrans" cxnId="{7914C9BE-0F5E-46BC-9A07-E0A6EA853769}">
      <dgm:prSet/>
      <dgm:spPr/>
      <dgm:t>
        <a:bodyPr/>
        <a:lstStyle/>
        <a:p>
          <a:endParaRPr lang="pt-BR"/>
        </a:p>
      </dgm:t>
    </dgm:pt>
    <dgm:pt modelId="{E513178D-3090-4861-AD40-A7DF8AF46A70}">
      <dgm:prSet phldrT="[Text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pt-BR" sz="1400" b="1" dirty="0">
              <a:solidFill>
                <a:schemeClr val="accent1">
                  <a:lumMod val="75000"/>
                </a:schemeClr>
              </a:solidFill>
            </a:rPr>
            <a:t>Atualização dos estudos</a:t>
          </a:r>
        </a:p>
      </dgm:t>
    </dgm:pt>
    <dgm:pt modelId="{896615DE-1A4C-410C-909B-639CE20B8381}" type="parTrans" cxnId="{7F8B4147-EB8F-4F0C-8E34-91410755390E}">
      <dgm:prSet/>
      <dgm:spPr/>
      <dgm:t>
        <a:bodyPr/>
        <a:lstStyle/>
        <a:p>
          <a:endParaRPr lang="pt-BR"/>
        </a:p>
      </dgm:t>
    </dgm:pt>
    <dgm:pt modelId="{7BB6D99A-AC70-42E1-90FF-20956A440B31}" type="sibTrans" cxnId="{7F8B4147-EB8F-4F0C-8E34-91410755390E}">
      <dgm:prSet/>
      <dgm:spPr/>
      <dgm:t>
        <a:bodyPr/>
        <a:lstStyle/>
        <a:p>
          <a:endParaRPr lang="pt-BR"/>
        </a:p>
      </dgm:t>
    </dgm:pt>
    <dgm:pt modelId="{E5AC704C-283A-4B00-8441-0C58A5823C49}">
      <dgm:prSet phldrT="[Text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pt-BR" sz="1400" b="1" dirty="0">
              <a:solidFill>
                <a:schemeClr val="accent1">
                  <a:lumMod val="75000"/>
                </a:schemeClr>
              </a:solidFill>
            </a:rPr>
            <a:t>Elaboração de estratégia de participação social/consulta a sociedade e academia</a:t>
          </a:r>
        </a:p>
      </dgm:t>
    </dgm:pt>
    <dgm:pt modelId="{A8A672DF-6EC7-43F1-A2DA-CDC16778212E}" type="parTrans" cxnId="{9BE858FB-ED98-43D0-A794-1785DF5C4170}">
      <dgm:prSet/>
      <dgm:spPr/>
      <dgm:t>
        <a:bodyPr/>
        <a:lstStyle/>
        <a:p>
          <a:endParaRPr lang="pt-BR"/>
        </a:p>
      </dgm:t>
    </dgm:pt>
    <dgm:pt modelId="{0391B9D0-4947-443A-B44D-5EB2BC6B1D07}" type="sibTrans" cxnId="{9BE858FB-ED98-43D0-A794-1785DF5C4170}">
      <dgm:prSet/>
      <dgm:spPr/>
      <dgm:t>
        <a:bodyPr/>
        <a:lstStyle/>
        <a:p>
          <a:endParaRPr lang="pt-BR"/>
        </a:p>
      </dgm:t>
    </dgm:pt>
    <dgm:pt modelId="{4BF1161C-F103-4FD6-89CE-8191D5D16959}" type="pres">
      <dgm:prSet presAssocID="{56D2152D-A4A4-49AD-9D7B-B039EF8DE3D1}" presName="Name0" presStyleCnt="0">
        <dgm:presLayoutVars>
          <dgm:dir/>
          <dgm:animLvl val="lvl"/>
          <dgm:resizeHandles val="exact"/>
        </dgm:presLayoutVars>
      </dgm:prSet>
      <dgm:spPr/>
    </dgm:pt>
    <dgm:pt modelId="{C19B8EC3-50BC-44FF-A62D-E7361F93DF23}" type="pres">
      <dgm:prSet presAssocID="{56D2152D-A4A4-49AD-9D7B-B039EF8DE3D1}" presName="tSp" presStyleCnt="0"/>
      <dgm:spPr/>
    </dgm:pt>
    <dgm:pt modelId="{21F8BC7C-B1C6-4E28-ABC9-6A377BE34E22}" type="pres">
      <dgm:prSet presAssocID="{56D2152D-A4A4-49AD-9D7B-B039EF8DE3D1}" presName="bSp" presStyleCnt="0"/>
      <dgm:spPr/>
    </dgm:pt>
    <dgm:pt modelId="{C18FE194-D05B-4DA9-82B8-BE365139AEF2}" type="pres">
      <dgm:prSet presAssocID="{56D2152D-A4A4-49AD-9D7B-B039EF8DE3D1}" presName="process" presStyleCnt="0"/>
      <dgm:spPr/>
    </dgm:pt>
    <dgm:pt modelId="{E4E5CD51-0555-4086-AA86-9BFC41F3B121}" type="pres">
      <dgm:prSet presAssocID="{03838A82-42BD-4BDD-92F8-732397292CAE}" presName="composite1" presStyleCnt="0"/>
      <dgm:spPr/>
    </dgm:pt>
    <dgm:pt modelId="{C6045C3A-2C98-428B-9FED-4F9DE1643A76}" type="pres">
      <dgm:prSet presAssocID="{03838A82-42BD-4BDD-92F8-732397292CAE}" presName="dummyNode1" presStyleLbl="node1" presStyleIdx="0" presStyleCnt="3"/>
      <dgm:spPr/>
    </dgm:pt>
    <dgm:pt modelId="{27AF238A-AACA-49C3-9783-01EDA0066AB9}" type="pres">
      <dgm:prSet presAssocID="{03838A82-42BD-4BDD-92F8-732397292CAE}" presName="childNode1" presStyleLbl="bgAcc1" presStyleIdx="0" presStyleCnt="3" custScaleX="126342" custScaleY="183540" custLinFactNeighborY="-14851">
        <dgm:presLayoutVars>
          <dgm:bulletEnabled val="1"/>
        </dgm:presLayoutVars>
      </dgm:prSet>
      <dgm:spPr/>
    </dgm:pt>
    <dgm:pt modelId="{A3CDC862-1189-4796-B85C-F3721CACAB08}" type="pres">
      <dgm:prSet presAssocID="{03838A82-42BD-4BDD-92F8-732397292CAE}" presName="childNode1tx" presStyleLbl="bgAcc1" presStyleIdx="0" presStyleCnt="3">
        <dgm:presLayoutVars>
          <dgm:bulletEnabled val="1"/>
        </dgm:presLayoutVars>
      </dgm:prSet>
      <dgm:spPr/>
    </dgm:pt>
    <dgm:pt modelId="{892C56F5-8BEE-4BD0-8CBB-409E19D3D75A}" type="pres">
      <dgm:prSet presAssocID="{03838A82-42BD-4BDD-92F8-732397292CAE}" presName="parentNode1" presStyleLbl="node1" presStyleIdx="0" presStyleCnt="3" custLinFactNeighborX="-5607" custLinFactNeighborY="27657">
        <dgm:presLayoutVars>
          <dgm:chMax val="1"/>
          <dgm:bulletEnabled val="1"/>
        </dgm:presLayoutVars>
      </dgm:prSet>
      <dgm:spPr/>
    </dgm:pt>
    <dgm:pt modelId="{DDE558B6-F712-4D79-B7B1-F5F631B5EE81}" type="pres">
      <dgm:prSet presAssocID="{03838A82-42BD-4BDD-92F8-732397292CAE}" presName="connSite1" presStyleCnt="0"/>
      <dgm:spPr/>
    </dgm:pt>
    <dgm:pt modelId="{8FE41D59-4E0A-42DA-9B7B-FD18648F6D6C}" type="pres">
      <dgm:prSet presAssocID="{00516BF6-0221-47D1-AE6B-B95149697C9D}" presName="Name9" presStyleLbl="sibTrans2D1" presStyleIdx="0" presStyleCnt="2" custLinFactNeighborX="8431" custLinFactNeighborY="-5739"/>
      <dgm:spPr/>
    </dgm:pt>
    <dgm:pt modelId="{EF0ED6C0-C4E1-4FA2-8F18-336F4F71F0BE}" type="pres">
      <dgm:prSet presAssocID="{52BBF82B-93E8-4784-B042-F881629BD0A1}" presName="composite2" presStyleCnt="0"/>
      <dgm:spPr/>
    </dgm:pt>
    <dgm:pt modelId="{A0EAE128-0D67-4C4E-AC71-C1BB2356AB59}" type="pres">
      <dgm:prSet presAssocID="{52BBF82B-93E8-4784-B042-F881629BD0A1}" presName="dummyNode2" presStyleLbl="node1" presStyleIdx="0" presStyleCnt="3"/>
      <dgm:spPr/>
    </dgm:pt>
    <dgm:pt modelId="{8186CC66-15EF-4444-BA67-288F27271D8C}" type="pres">
      <dgm:prSet presAssocID="{52BBF82B-93E8-4784-B042-F881629BD0A1}" presName="childNode2" presStyleLbl="bgAcc1" presStyleIdx="1" presStyleCnt="3" custScaleX="130720" custScaleY="193075" custLinFactNeighborX="207" custLinFactNeighborY="31749">
        <dgm:presLayoutVars>
          <dgm:bulletEnabled val="1"/>
        </dgm:presLayoutVars>
      </dgm:prSet>
      <dgm:spPr/>
    </dgm:pt>
    <dgm:pt modelId="{0A0DBA08-771C-4182-96DF-BEA4271984C5}" type="pres">
      <dgm:prSet presAssocID="{52BBF82B-93E8-4784-B042-F881629BD0A1}" presName="childNode2tx" presStyleLbl="bgAcc1" presStyleIdx="1" presStyleCnt="3">
        <dgm:presLayoutVars>
          <dgm:bulletEnabled val="1"/>
        </dgm:presLayoutVars>
      </dgm:prSet>
      <dgm:spPr/>
    </dgm:pt>
    <dgm:pt modelId="{7B47198B-5A66-4D9E-87CD-B937C075207B}" type="pres">
      <dgm:prSet presAssocID="{52BBF82B-93E8-4784-B042-F881629BD0A1}" presName="parentNode2" presStyleLbl="node1" presStyleIdx="1" presStyleCnt="3" custLinFactNeighborX="-43575" custLinFactNeighborY="-48547">
        <dgm:presLayoutVars>
          <dgm:chMax val="0"/>
          <dgm:bulletEnabled val="1"/>
        </dgm:presLayoutVars>
      </dgm:prSet>
      <dgm:spPr/>
    </dgm:pt>
    <dgm:pt modelId="{29640853-A27F-4EAC-BFED-2501B6E3E378}" type="pres">
      <dgm:prSet presAssocID="{52BBF82B-93E8-4784-B042-F881629BD0A1}" presName="connSite2" presStyleCnt="0"/>
      <dgm:spPr/>
    </dgm:pt>
    <dgm:pt modelId="{50936C9E-18F8-4055-9C0D-374A6C3058AD}" type="pres">
      <dgm:prSet presAssocID="{120F5107-F429-445C-BD7D-43B6E3ED6AC3}" presName="Name18" presStyleLbl="sibTrans2D1" presStyleIdx="1" presStyleCnt="2" custLinFactNeighborX="3778" custLinFactNeighborY="3338"/>
      <dgm:spPr/>
    </dgm:pt>
    <dgm:pt modelId="{6CD374EB-0A73-41E9-9C59-C5BFB9A53AB9}" type="pres">
      <dgm:prSet presAssocID="{0F9AD1E9-22E1-47AE-ADC0-5B3448DFC9B4}" presName="composite1" presStyleCnt="0"/>
      <dgm:spPr/>
    </dgm:pt>
    <dgm:pt modelId="{56A208CB-98FA-4F80-B16B-34CB16C17AC7}" type="pres">
      <dgm:prSet presAssocID="{0F9AD1E9-22E1-47AE-ADC0-5B3448DFC9B4}" presName="dummyNode1" presStyleLbl="node1" presStyleIdx="1" presStyleCnt="3"/>
      <dgm:spPr/>
    </dgm:pt>
    <dgm:pt modelId="{0F088751-A7A6-4031-B74D-0B4F40FBBEAD}" type="pres">
      <dgm:prSet presAssocID="{0F9AD1E9-22E1-47AE-ADC0-5B3448DFC9B4}" presName="childNode1" presStyleLbl="bgAcc1" presStyleIdx="2" presStyleCnt="3" custScaleX="123448" custScaleY="174789" custLinFactNeighborX="-7614" custLinFactNeighborY="-14092">
        <dgm:presLayoutVars>
          <dgm:bulletEnabled val="1"/>
        </dgm:presLayoutVars>
      </dgm:prSet>
      <dgm:spPr/>
    </dgm:pt>
    <dgm:pt modelId="{3FAE358D-2489-4DAC-AEB0-067E8FB3AD15}" type="pres">
      <dgm:prSet presAssocID="{0F9AD1E9-22E1-47AE-ADC0-5B3448DFC9B4}" presName="childNode1tx" presStyleLbl="bgAcc1" presStyleIdx="2" presStyleCnt="3">
        <dgm:presLayoutVars>
          <dgm:bulletEnabled val="1"/>
        </dgm:presLayoutVars>
      </dgm:prSet>
      <dgm:spPr/>
    </dgm:pt>
    <dgm:pt modelId="{30EA1299-20CE-4D27-97E2-95CEE8EC64DF}" type="pres">
      <dgm:prSet presAssocID="{0F9AD1E9-22E1-47AE-ADC0-5B3448DFC9B4}" presName="parentNode1" presStyleLbl="node1" presStyleIdx="2" presStyleCnt="3" custLinFactNeighborX="-46822" custLinFactNeighborY="71405">
        <dgm:presLayoutVars>
          <dgm:chMax val="1"/>
          <dgm:bulletEnabled val="1"/>
        </dgm:presLayoutVars>
      </dgm:prSet>
      <dgm:spPr/>
    </dgm:pt>
    <dgm:pt modelId="{4593DF45-9DBE-47E1-ABC5-B3C67828E82B}" type="pres">
      <dgm:prSet presAssocID="{0F9AD1E9-22E1-47AE-ADC0-5B3448DFC9B4}" presName="connSite1" presStyleCnt="0"/>
      <dgm:spPr/>
    </dgm:pt>
  </dgm:ptLst>
  <dgm:cxnLst>
    <dgm:cxn modelId="{C3CC5000-5D4C-481E-94EE-DF4DCA84EEBC}" type="presOf" srcId="{962D903D-9960-45D5-B999-D02F4CB20FB4}" destId="{A3CDC862-1189-4796-B85C-F3721CACAB08}" srcOrd="1" destOrd="1" presId="urn:microsoft.com/office/officeart/2005/8/layout/hProcess4"/>
    <dgm:cxn modelId="{5045D200-9B6E-404B-BA29-B8F7CD7D7545}" type="presOf" srcId="{56D2152D-A4A4-49AD-9D7B-B039EF8DE3D1}" destId="{4BF1161C-F103-4FD6-89CE-8191D5D16959}" srcOrd="0" destOrd="0" presId="urn:microsoft.com/office/officeart/2005/8/layout/hProcess4"/>
    <dgm:cxn modelId="{70FBB607-776F-40FD-8B4F-045CD3287652}" srcId="{03838A82-42BD-4BDD-92F8-732397292CAE}" destId="{962D903D-9960-45D5-B999-D02F4CB20FB4}" srcOrd="1" destOrd="0" parTransId="{2CC11EB9-B1C2-4699-9AA7-4661AAE17EF3}" sibTransId="{FA80853E-B179-4C0D-8BDD-6085CCA1D1B8}"/>
    <dgm:cxn modelId="{9BD9B90C-A511-4F69-9FA5-92022B13AD41}" type="presOf" srcId="{43067087-7C4C-458D-9839-3EB807FCB423}" destId="{A3CDC862-1189-4796-B85C-F3721CACAB08}" srcOrd="1" destOrd="3" presId="urn:microsoft.com/office/officeart/2005/8/layout/hProcess4"/>
    <dgm:cxn modelId="{F697A210-4D93-49E8-9895-4DA96D4036EB}" type="presOf" srcId="{35D37E2D-E683-4982-8E02-B3A23CE54DDC}" destId="{0A0DBA08-771C-4182-96DF-BEA4271984C5}" srcOrd="1" destOrd="2" presId="urn:microsoft.com/office/officeart/2005/8/layout/hProcess4"/>
    <dgm:cxn modelId="{296EF710-DFF6-45CF-BE8E-DF8A767F04C4}" type="presOf" srcId="{4D26A59F-511B-42F7-841E-ECA9340C2ACD}" destId="{27AF238A-AACA-49C3-9783-01EDA0066AB9}" srcOrd="0" destOrd="0" presId="urn:microsoft.com/office/officeart/2005/8/layout/hProcess4"/>
    <dgm:cxn modelId="{A7B10916-324D-46F5-AC7D-2FE02A2E3179}" type="presOf" srcId="{00AA769E-8844-41A6-BDBD-10DD47C5CD39}" destId="{0A0DBA08-771C-4182-96DF-BEA4271984C5}" srcOrd="1" destOrd="1" presId="urn:microsoft.com/office/officeart/2005/8/layout/hProcess4"/>
    <dgm:cxn modelId="{BBEE731E-D616-40EE-8345-D91CBBBA3833}" srcId="{56D2152D-A4A4-49AD-9D7B-B039EF8DE3D1}" destId="{52BBF82B-93E8-4784-B042-F881629BD0A1}" srcOrd="1" destOrd="0" parTransId="{866D46F0-2EB1-4507-96AC-A67819141ADD}" sibTransId="{120F5107-F429-445C-BD7D-43B6E3ED6AC3}"/>
    <dgm:cxn modelId="{48F3AC26-D5CE-454B-86F4-2CAB6D4108D0}" type="presOf" srcId="{26FC3144-7540-4291-ABCA-7094EDC31944}" destId="{3FAE358D-2489-4DAC-AEB0-067E8FB3AD15}" srcOrd="1" destOrd="0" presId="urn:microsoft.com/office/officeart/2005/8/layout/hProcess4"/>
    <dgm:cxn modelId="{4515BF39-87C3-44A0-9F6D-38B74C03C57B}" type="presOf" srcId="{962D903D-9960-45D5-B999-D02F4CB20FB4}" destId="{27AF238A-AACA-49C3-9783-01EDA0066AB9}" srcOrd="0" destOrd="1" presId="urn:microsoft.com/office/officeart/2005/8/layout/hProcess4"/>
    <dgm:cxn modelId="{6EF5C85C-0AE9-4306-A892-70C838ED1982}" type="presOf" srcId="{E513178D-3090-4861-AD40-A7DF8AF46A70}" destId="{0F088751-A7A6-4031-B74D-0B4F40FBBEAD}" srcOrd="0" destOrd="1" presId="urn:microsoft.com/office/officeart/2005/8/layout/hProcess4"/>
    <dgm:cxn modelId="{4548D142-0B3C-4D02-8A68-7C31DF70A5EA}" type="presOf" srcId="{00AA769E-8844-41A6-BDBD-10DD47C5CD39}" destId="{8186CC66-15EF-4444-BA67-288F27271D8C}" srcOrd="0" destOrd="1" presId="urn:microsoft.com/office/officeart/2005/8/layout/hProcess4"/>
    <dgm:cxn modelId="{7F8B4147-EB8F-4F0C-8E34-91410755390E}" srcId="{0F9AD1E9-22E1-47AE-ADC0-5B3448DFC9B4}" destId="{E513178D-3090-4861-AD40-A7DF8AF46A70}" srcOrd="1" destOrd="0" parTransId="{896615DE-1A4C-410C-909B-639CE20B8381}" sibTransId="{7BB6D99A-AC70-42E1-90FF-20956A440B31}"/>
    <dgm:cxn modelId="{26252F69-0A7C-4DB5-AC6C-5F486EDB32B6}" type="presOf" srcId="{E5AC704C-283A-4B00-8441-0C58A5823C49}" destId="{0F088751-A7A6-4031-B74D-0B4F40FBBEAD}" srcOrd="0" destOrd="2" presId="urn:microsoft.com/office/officeart/2005/8/layout/hProcess4"/>
    <dgm:cxn modelId="{927EC349-E23B-4FBE-80DB-5DF7C05BAD4F}" type="presOf" srcId="{77A89D67-E010-4D1E-8D91-CAC270263633}" destId="{A3CDC862-1189-4796-B85C-F3721CACAB08}" srcOrd="1" destOrd="2" presId="urn:microsoft.com/office/officeart/2005/8/layout/hProcess4"/>
    <dgm:cxn modelId="{6555046F-3BA2-4AB3-B286-E6F896D973B2}" type="presOf" srcId="{0F9AD1E9-22E1-47AE-ADC0-5B3448DFC9B4}" destId="{30EA1299-20CE-4D27-97E2-95CEE8EC64DF}" srcOrd="0" destOrd="0" presId="urn:microsoft.com/office/officeart/2005/8/layout/hProcess4"/>
    <dgm:cxn modelId="{54275176-BB63-46B7-938C-1E0E7C75D0E6}" type="presOf" srcId="{77A89D67-E010-4D1E-8D91-CAC270263633}" destId="{27AF238A-AACA-49C3-9783-01EDA0066AB9}" srcOrd="0" destOrd="2" presId="urn:microsoft.com/office/officeart/2005/8/layout/hProcess4"/>
    <dgm:cxn modelId="{ADB9C289-84F3-4BCE-B08E-6D58BDB10D2F}" type="presOf" srcId="{03838A82-42BD-4BDD-92F8-732397292CAE}" destId="{892C56F5-8BEE-4BD0-8CBB-409E19D3D75A}" srcOrd="0" destOrd="0" presId="urn:microsoft.com/office/officeart/2005/8/layout/hProcess4"/>
    <dgm:cxn modelId="{7CEE368D-91BA-4E05-A8A2-51E0CC224E0B}" type="presOf" srcId="{7DD02A66-A69A-4053-AA5A-EF92D8B44FE4}" destId="{8186CC66-15EF-4444-BA67-288F27271D8C}" srcOrd="0" destOrd="0" presId="urn:microsoft.com/office/officeart/2005/8/layout/hProcess4"/>
    <dgm:cxn modelId="{4EFF8E8D-791C-41E0-BD86-69C3989F7137}" srcId="{52BBF82B-93E8-4784-B042-F881629BD0A1}" destId="{9CC2F826-0699-4906-B90D-2714E2E65BE1}" srcOrd="3" destOrd="0" parTransId="{3E55ECD3-69AD-4627-9598-4FDFA4C36E9A}" sibTransId="{50887308-5F4A-42CB-B4B5-849BA4067808}"/>
    <dgm:cxn modelId="{34AF719A-49F8-4067-B531-597D59BDC5F3}" srcId="{03838A82-42BD-4BDD-92F8-732397292CAE}" destId="{43067087-7C4C-458D-9839-3EB807FCB423}" srcOrd="3" destOrd="0" parTransId="{58C19AF1-60F0-4C6D-97DA-C0745DD8FADF}" sibTransId="{CA1ADBD2-8D3E-49A2-8BF5-2F824A4FCFEE}"/>
    <dgm:cxn modelId="{4610D49A-E000-40A5-8A8D-A472C68E6683}" type="presOf" srcId="{E513178D-3090-4861-AD40-A7DF8AF46A70}" destId="{3FAE358D-2489-4DAC-AEB0-067E8FB3AD15}" srcOrd="1" destOrd="1" presId="urn:microsoft.com/office/officeart/2005/8/layout/hProcess4"/>
    <dgm:cxn modelId="{02D8DD9C-0B63-49D9-9DC8-45A4F2E02EC1}" srcId="{56D2152D-A4A4-49AD-9D7B-B039EF8DE3D1}" destId="{0F9AD1E9-22E1-47AE-ADC0-5B3448DFC9B4}" srcOrd="2" destOrd="0" parTransId="{C0FB014F-2AE6-4B21-A0C1-3E296E7F36B6}" sibTransId="{F778AE66-0771-4963-9E3E-7BE99DB5D56D}"/>
    <dgm:cxn modelId="{39C7D99E-6BA0-438A-923A-26F632DBF06E}" type="presOf" srcId="{9CC2F826-0699-4906-B90D-2714E2E65BE1}" destId="{0A0DBA08-771C-4182-96DF-BEA4271984C5}" srcOrd="1" destOrd="3" presId="urn:microsoft.com/office/officeart/2005/8/layout/hProcess4"/>
    <dgm:cxn modelId="{3B14FBAA-77CE-4A34-ADD3-6F9199F63F31}" type="presOf" srcId="{00516BF6-0221-47D1-AE6B-B95149697C9D}" destId="{8FE41D59-4E0A-42DA-9B7B-FD18648F6D6C}" srcOrd="0" destOrd="0" presId="urn:microsoft.com/office/officeart/2005/8/layout/hProcess4"/>
    <dgm:cxn modelId="{B3FB00AB-435D-4751-B7A7-E63C38A04FDC}" type="presOf" srcId="{7DD02A66-A69A-4053-AA5A-EF92D8B44FE4}" destId="{0A0DBA08-771C-4182-96DF-BEA4271984C5}" srcOrd="1" destOrd="0" presId="urn:microsoft.com/office/officeart/2005/8/layout/hProcess4"/>
    <dgm:cxn modelId="{B3A687AC-15E4-4510-A5DC-A7C62974186E}" type="presOf" srcId="{43067087-7C4C-458D-9839-3EB807FCB423}" destId="{27AF238A-AACA-49C3-9783-01EDA0066AB9}" srcOrd="0" destOrd="3" presId="urn:microsoft.com/office/officeart/2005/8/layout/hProcess4"/>
    <dgm:cxn modelId="{FE10C1AD-A321-43CD-9AD6-675A08FEC0E0}" type="presOf" srcId="{26FC3144-7540-4291-ABCA-7094EDC31944}" destId="{0F088751-A7A6-4031-B74D-0B4F40FBBEAD}" srcOrd="0" destOrd="0" presId="urn:microsoft.com/office/officeart/2005/8/layout/hProcess4"/>
    <dgm:cxn modelId="{7914C9BE-0F5E-46BC-9A07-E0A6EA853769}" srcId="{52BBF82B-93E8-4784-B042-F881629BD0A1}" destId="{35D37E2D-E683-4982-8E02-B3A23CE54DDC}" srcOrd="2" destOrd="0" parTransId="{C7F526B6-39F8-489C-89C0-8E071138BA5E}" sibTransId="{8E4CC466-7CE0-451A-93FF-5CFBE59DF011}"/>
    <dgm:cxn modelId="{6BEA76C0-86D5-45C3-BF83-4413E051ECDE}" srcId="{52BBF82B-93E8-4784-B042-F881629BD0A1}" destId="{00AA769E-8844-41A6-BDBD-10DD47C5CD39}" srcOrd="1" destOrd="0" parTransId="{C58E0BAF-2CCC-4DCE-BE50-5FFCBB14ADEA}" sibTransId="{C6B53BFC-C079-4298-A63D-FE942CF9E1E6}"/>
    <dgm:cxn modelId="{E08CE7C5-6E39-42F6-A97C-81BEB9BD3753}" srcId="{52BBF82B-93E8-4784-B042-F881629BD0A1}" destId="{7DD02A66-A69A-4053-AA5A-EF92D8B44FE4}" srcOrd="0" destOrd="0" parTransId="{432A3B9A-1214-4F5A-AB3E-FED09A1C7466}" sibTransId="{7D9CA8FE-8A3A-4799-B01C-3724F51ACD28}"/>
    <dgm:cxn modelId="{2C5EE9C6-5531-4850-A0DA-FF5240E8AA19}" srcId="{03838A82-42BD-4BDD-92F8-732397292CAE}" destId="{4D26A59F-511B-42F7-841E-ECA9340C2ACD}" srcOrd="0" destOrd="0" parTransId="{C3DCC974-59F1-48FE-9B0C-3C013B778476}" sibTransId="{431473DD-6C2B-4BAA-B711-665D75A4914F}"/>
    <dgm:cxn modelId="{C75C71CB-E6D5-4F15-AA07-199ED59BAF44}" type="presOf" srcId="{E5AC704C-283A-4B00-8441-0C58A5823C49}" destId="{3FAE358D-2489-4DAC-AEB0-067E8FB3AD15}" srcOrd="1" destOrd="2" presId="urn:microsoft.com/office/officeart/2005/8/layout/hProcess4"/>
    <dgm:cxn modelId="{FAA191D0-2DB5-4A27-B917-AEFFA8F5E1F2}" type="presOf" srcId="{9CC2F826-0699-4906-B90D-2714E2E65BE1}" destId="{8186CC66-15EF-4444-BA67-288F27271D8C}" srcOrd="0" destOrd="3" presId="urn:microsoft.com/office/officeart/2005/8/layout/hProcess4"/>
    <dgm:cxn modelId="{F99FDDD9-49BC-4BC8-9CEE-6B231071423A}" srcId="{56D2152D-A4A4-49AD-9D7B-B039EF8DE3D1}" destId="{03838A82-42BD-4BDD-92F8-732397292CAE}" srcOrd="0" destOrd="0" parTransId="{D594DC03-2D7C-4C9A-BCC7-83F3F28D17F0}" sibTransId="{00516BF6-0221-47D1-AE6B-B95149697C9D}"/>
    <dgm:cxn modelId="{3601AAE1-298B-4676-8D83-CC2C0EC703C4}" type="presOf" srcId="{35D37E2D-E683-4982-8E02-B3A23CE54DDC}" destId="{8186CC66-15EF-4444-BA67-288F27271D8C}" srcOrd="0" destOrd="2" presId="urn:microsoft.com/office/officeart/2005/8/layout/hProcess4"/>
    <dgm:cxn modelId="{BB05DBE2-7C66-4BC1-AE27-289A97E5BC8C}" type="presOf" srcId="{120F5107-F429-445C-BD7D-43B6E3ED6AC3}" destId="{50936C9E-18F8-4055-9C0D-374A6C3058AD}" srcOrd="0" destOrd="0" presId="urn:microsoft.com/office/officeart/2005/8/layout/hProcess4"/>
    <dgm:cxn modelId="{3E1FDEE4-B6F3-4470-8458-CA1A7D81CD72}" type="presOf" srcId="{52BBF82B-93E8-4784-B042-F881629BD0A1}" destId="{7B47198B-5A66-4D9E-87CD-B937C075207B}" srcOrd="0" destOrd="0" presId="urn:microsoft.com/office/officeart/2005/8/layout/hProcess4"/>
    <dgm:cxn modelId="{B3C12DE7-4A8D-42B2-989C-CC25B9BFD698}" srcId="{03838A82-42BD-4BDD-92F8-732397292CAE}" destId="{77A89D67-E010-4D1E-8D91-CAC270263633}" srcOrd="2" destOrd="0" parTransId="{3BC88B6D-A901-41A6-8664-6BAC1D93C40B}" sibTransId="{04D10F79-E0C2-4366-9C68-BF9D7B54552B}"/>
    <dgm:cxn modelId="{06228DF4-CFCF-4473-B7B5-62D62CFB8753}" srcId="{0F9AD1E9-22E1-47AE-ADC0-5B3448DFC9B4}" destId="{26FC3144-7540-4291-ABCA-7094EDC31944}" srcOrd="0" destOrd="0" parTransId="{C18D49F8-1E44-4EB2-9049-D216509577B8}" sibTransId="{3E67BF89-387E-4EBE-B879-66E45D99366F}"/>
    <dgm:cxn modelId="{9BE858FB-ED98-43D0-A794-1785DF5C4170}" srcId="{0F9AD1E9-22E1-47AE-ADC0-5B3448DFC9B4}" destId="{E5AC704C-283A-4B00-8441-0C58A5823C49}" srcOrd="2" destOrd="0" parTransId="{A8A672DF-6EC7-43F1-A2DA-CDC16778212E}" sibTransId="{0391B9D0-4947-443A-B44D-5EB2BC6B1D07}"/>
    <dgm:cxn modelId="{1E24BEFF-636E-4699-A814-C510004148AC}" type="presOf" srcId="{4D26A59F-511B-42F7-841E-ECA9340C2ACD}" destId="{A3CDC862-1189-4796-B85C-F3721CACAB08}" srcOrd="1" destOrd="0" presId="urn:microsoft.com/office/officeart/2005/8/layout/hProcess4"/>
    <dgm:cxn modelId="{E176B68C-F4EF-40BD-A28B-3CE736642E2C}" type="presParOf" srcId="{4BF1161C-F103-4FD6-89CE-8191D5D16959}" destId="{C19B8EC3-50BC-44FF-A62D-E7361F93DF23}" srcOrd="0" destOrd="0" presId="urn:microsoft.com/office/officeart/2005/8/layout/hProcess4"/>
    <dgm:cxn modelId="{25EB6637-3B84-437D-8589-A5192F70DA37}" type="presParOf" srcId="{4BF1161C-F103-4FD6-89CE-8191D5D16959}" destId="{21F8BC7C-B1C6-4E28-ABC9-6A377BE34E22}" srcOrd="1" destOrd="0" presId="urn:microsoft.com/office/officeart/2005/8/layout/hProcess4"/>
    <dgm:cxn modelId="{81D260C6-4E77-47FC-A8A0-94769C22BDC2}" type="presParOf" srcId="{4BF1161C-F103-4FD6-89CE-8191D5D16959}" destId="{C18FE194-D05B-4DA9-82B8-BE365139AEF2}" srcOrd="2" destOrd="0" presId="urn:microsoft.com/office/officeart/2005/8/layout/hProcess4"/>
    <dgm:cxn modelId="{74D2C443-334A-4827-8D99-A13E966D15FF}" type="presParOf" srcId="{C18FE194-D05B-4DA9-82B8-BE365139AEF2}" destId="{E4E5CD51-0555-4086-AA86-9BFC41F3B121}" srcOrd="0" destOrd="0" presId="urn:microsoft.com/office/officeart/2005/8/layout/hProcess4"/>
    <dgm:cxn modelId="{B222B367-1297-4CE7-B963-B227660F543F}" type="presParOf" srcId="{E4E5CD51-0555-4086-AA86-9BFC41F3B121}" destId="{C6045C3A-2C98-428B-9FED-4F9DE1643A76}" srcOrd="0" destOrd="0" presId="urn:microsoft.com/office/officeart/2005/8/layout/hProcess4"/>
    <dgm:cxn modelId="{DFF12CF4-4E47-44BD-91A9-B135C2DF04F7}" type="presParOf" srcId="{E4E5CD51-0555-4086-AA86-9BFC41F3B121}" destId="{27AF238A-AACA-49C3-9783-01EDA0066AB9}" srcOrd="1" destOrd="0" presId="urn:microsoft.com/office/officeart/2005/8/layout/hProcess4"/>
    <dgm:cxn modelId="{F145A2C5-B5F9-40E6-B48D-23EB8E2B55DA}" type="presParOf" srcId="{E4E5CD51-0555-4086-AA86-9BFC41F3B121}" destId="{A3CDC862-1189-4796-B85C-F3721CACAB08}" srcOrd="2" destOrd="0" presId="urn:microsoft.com/office/officeart/2005/8/layout/hProcess4"/>
    <dgm:cxn modelId="{7D37867C-CD30-4DF7-8D6D-CB723AF31463}" type="presParOf" srcId="{E4E5CD51-0555-4086-AA86-9BFC41F3B121}" destId="{892C56F5-8BEE-4BD0-8CBB-409E19D3D75A}" srcOrd="3" destOrd="0" presId="urn:microsoft.com/office/officeart/2005/8/layout/hProcess4"/>
    <dgm:cxn modelId="{A670167F-F2FF-4270-872D-5F1B2F6DDD21}" type="presParOf" srcId="{E4E5CD51-0555-4086-AA86-9BFC41F3B121}" destId="{DDE558B6-F712-4D79-B7B1-F5F631B5EE81}" srcOrd="4" destOrd="0" presId="urn:microsoft.com/office/officeart/2005/8/layout/hProcess4"/>
    <dgm:cxn modelId="{59830034-AF59-42AA-B93C-11ADD0376EFC}" type="presParOf" srcId="{C18FE194-D05B-4DA9-82B8-BE365139AEF2}" destId="{8FE41D59-4E0A-42DA-9B7B-FD18648F6D6C}" srcOrd="1" destOrd="0" presId="urn:microsoft.com/office/officeart/2005/8/layout/hProcess4"/>
    <dgm:cxn modelId="{5BDA07C0-0F9A-49E8-A8A1-820E5D122A0E}" type="presParOf" srcId="{C18FE194-D05B-4DA9-82B8-BE365139AEF2}" destId="{EF0ED6C0-C4E1-4FA2-8F18-336F4F71F0BE}" srcOrd="2" destOrd="0" presId="urn:microsoft.com/office/officeart/2005/8/layout/hProcess4"/>
    <dgm:cxn modelId="{F79893F3-F442-4566-9D5D-7643BF1CF8DC}" type="presParOf" srcId="{EF0ED6C0-C4E1-4FA2-8F18-336F4F71F0BE}" destId="{A0EAE128-0D67-4C4E-AC71-C1BB2356AB59}" srcOrd="0" destOrd="0" presId="urn:microsoft.com/office/officeart/2005/8/layout/hProcess4"/>
    <dgm:cxn modelId="{02D1648C-6E35-4D87-8D5D-C813EB344525}" type="presParOf" srcId="{EF0ED6C0-C4E1-4FA2-8F18-336F4F71F0BE}" destId="{8186CC66-15EF-4444-BA67-288F27271D8C}" srcOrd="1" destOrd="0" presId="urn:microsoft.com/office/officeart/2005/8/layout/hProcess4"/>
    <dgm:cxn modelId="{629897AF-ADF5-4C17-B8A1-B010B3748BEE}" type="presParOf" srcId="{EF0ED6C0-C4E1-4FA2-8F18-336F4F71F0BE}" destId="{0A0DBA08-771C-4182-96DF-BEA4271984C5}" srcOrd="2" destOrd="0" presId="urn:microsoft.com/office/officeart/2005/8/layout/hProcess4"/>
    <dgm:cxn modelId="{AF5B6874-6BDE-4BA4-ABCB-C5D44B2B1E34}" type="presParOf" srcId="{EF0ED6C0-C4E1-4FA2-8F18-336F4F71F0BE}" destId="{7B47198B-5A66-4D9E-87CD-B937C075207B}" srcOrd="3" destOrd="0" presId="urn:microsoft.com/office/officeart/2005/8/layout/hProcess4"/>
    <dgm:cxn modelId="{AF1DF0AA-2934-49CB-94CD-759ABEC2CA8E}" type="presParOf" srcId="{EF0ED6C0-C4E1-4FA2-8F18-336F4F71F0BE}" destId="{29640853-A27F-4EAC-BFED-2501B6E3E378}" srcOrd="4" destOrd="0" presId="urn:microsoft.com/office/officeart/2005/8/layout/hProcess4"/>
    <dgm:cxn modelId="{3C302173-E32C-4065-BA42-91A678C6DA6B}" type="presParOf" srcId="{C18FE194-D05B-4DA9-82B8-BE365139AEF2}" destId="{50936C9E-18F8-4055-9C0D-374A6C3058AD}" srcOrd="3" destOrd="0" presId="urn:microsoft.com/office/officeart/2005/8/layout/hProcess4"/>
    <dgm:cxn modelId="{4E380384-C0B7-4E2E-B41E-6953595B6A36}" type="presParOf" srcId="{C18FE194-D05B-4DA9-82B8-BE365139AEF2}" destId="{6CD374EB-0A73-41E9-9C59-C5BFB9A53AB9}" srcOrd="4" destOrd="0" presId="urn:microsoft.com/office/officeart/2005/8/layout/hProcess4"/>
    <dgm:cxn modelId="{751ED9B6-7CF8-4EB8-9B69-3088D4855848}" type="presParOf" srcId="{6CD374EB-0A73-41E9-9C59-C5BFB9A53AB9}" destId="{56A208CB-98FA-4F80-B16B-34CB16C17AC7}" srcOrd="0" destOrd="0" presId="urn:microsoft.com/office/officeart/2005/8/layout/hProcess4"/>
    <dgm:cxn modelId="{16EB7F65-01FE-40C0-A40B-FB78FEB6923E}" type="presParOf" srcId="{6CD374EB-0A73-41E9-9C59-C5BFB9A53AB9}" destId="{0F088751-A7A6-4031-B74D-0B4F40FBBEAD}" srcOrd="1" destOrd="0" presId="urn:microsoft.com/office/officeart/2005/8/layout/hProcess4"/>
    <dgm:cxn modelId="{737F26F9-8C3F-42C4-B619-934DBD408D24}" type="presParOf" srcId="{6CD374EB-0A73-41E9-9C59-C5BFB9A53AB9}" destId="{3FAE358D-2489-4DAC-AEB0-067E8FB3AD15}" srcOrd="2" destOrd="0" presId="urn:microsoft.com/office/officeart/2005/8/layout/hProcess4"/>
    <dgm:cxn modelId="{7788359C-791D-4650-B254-95FED70F2F43}" type="presParOf" srcId="{6CD374EB-0A73-41E9-9C59-C5BFB9A53AB9}" destId="{30EA1299-20CE-4D27-97E2-95CEE8EC64DF}" srcOrd="3" destOrd="0" presId="urn:microsoft.com/office/officeart/2005/8/layout/hProcess4"/>
    <dgm:cxn modelId="{8664EC89-3D65-4047-B1F8-6F1F1F056BF3}" type="presParOf" srcId="{6CD374EB-0A73-41E9-9C59-C5BFB9A53AB9}" destId="{4593DF45-9DBE-47E1-ABC5-B3C67828E82B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6349FA4-7A5B-42FA-A2B9-53B328037C7C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527E9DC1-AEE1-466F-A968-930679C478CB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Resiliência Territorial</a:t>
          </a:r>
        </a:p>
      </dgm:t>
    </dgm:pt>
    <dgm:pt modelId="{0B80CBA0-6ED3-4AB4-9440-02FC12545359}" type="parTrans" cxnId="{2EEBBD77-9CD6-43A3-9A49-83ED4C3C5D6A}">
      <dgm:prSet/>
      <dgm:spPr/>
      <dgm:t>
        <a:bodyPr/>
        <a:lstStyle/>
        <a:p>
          <a:endParaRPr lang="pt-BR"/>
        </a:p>
      </dgm:t>
    </dgm:pt>
    <dgm:pt modelId="{0C985A61-594A-4AF8-ABB8-2C59413B4ACD}" type="sibTrans" cxnId="{2EEBBD77-9CD6-43A3-9A49-83ED4C3C5D6A}">
      <dgm:prSet/>
      <dgm:spPr/>
      <dgm:t>
        <a:bodyPr/>
        <a:lstStyle/>
        <a:p>
          <a:endParaRPr lang="pt-BR"/>
        </a:p>
      </dgm:t>
    </dgm:pt>
    <dgm:pt modelId="{6BB826FD-4768-48A6-B26C-C05FDBA3BEA3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Reconhece as mudanças climáticas como irreversíveis</a:t>
          </a:r>
        </a:p>
      </dgm:t>
    </dgm:pt>
    <dgm:pt modelId="{DB5649C9-D6CD-4464-9FE8-D5FE02F41072}" type="parTrans" cxnId="{6EB40A25-205D-421F-92C1-6B0769AEF954}">
      <dgm:prSet/>
      <dgm:spPr/>
      <dgm:t>
        <a:bodyPr/>
        <a:lstStyle/>
        <a:p>
          <a:endParaRPr lang="pt-BR"/>
        </a:p>
      </dgm:t>
    </dgm:pt>
    <dgm:pt modelId="{DD39CD9C-11A0-481B-B27F-32CDB16170FC}" type="sibTrans" cxnId="{6EB40A25-205D-421F-92C1-6B0769AEF954}">
      <dgm:prSet/>
      <dgm:spPr/>
      <dgm:t>
        <a:bodyPr/>
        <a:lstStyle/>
        <a:p>
          <a:endParaRPr lang="pt-BR"/>
        </a:p>
      </dgm:t>
    </dgm:pt>
    <dgm:pt modelId="{90DCF598-8B82-413A-8B22-D20BE257A2B5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Dimensão social</a:t>
          </a:r>
        </a:p>
      </dgm:t>
    </dgm:pt>
    <dgm:pt modelId="{404B2729-30D9-4072-9FF2-9A80F8304D48}" type="parTrans" cxnId="{5009BC39-1940-449B-A3B5-F00F0E10B5A0}">
      <dgm:prSet/>
      <dgm:spPr/>
      <dgm:t>
        <a:bodyPr/>
        <a:lstStyle/>
        <a:p>
          <a:endParaRPr lang="pt-BR"/>
        </a:p>
      </dgm:t>
    </dgm:pt>
    <dgm:pt modelId="{E2649097-B442-411F-BDC5-9989472981F9}" type="sibTrans" cxnId="{5009BC39-1940-449B-A3B5-F00F0E10B5A0}">
      <dgm:prSet/>
      <dgm:spPr/>
      <dgm:t>
        <a:bodyPr/>
        <a:lstStyle/>
        <a:p>
          <a:endParaRPr lang="pt-BR"/>
        </a:p>
      </dgm:t>
    </dgm:pt>
    <dgm:pt modelId="{31EAC63A-BEEE-45CF-AFE3-BA51843F5F73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Dimensão ambiental</a:t>
          </a:r>
        </a:p>
      </dgm:t>
    </dgm:pt>
    <dgm:pt modelId="{47397E4B-AE0E-43F1-BB2D-81EF6BC7D516}" type="parTrans" cxnId="{7DD250F2-E8CB-4F76-A25A-1D39B4912FBB}">
      <dgm:prSet/>
      <dgm:spPr/>
      <dgm:t>
        <a:bodyPr/>
        <a:lstStyle/>
        <a:p>
          <a:endParaRPr lang="pt-BR"/>
        </a:p>
      </dgm:t>
    </dgm:pt>
    <dgm:pt modelId="{576C8177-1C03-4B15-9B20-7B8127747402}" type="sibTrans" cxnId="{7DD250F2-E8CB-4F76-A25A-1D39B4912FBB}">
      <dgm:prSet/>
      <dgm:spPr/>
      <dgm:t>
        <a:bodyPr/>
        <a:lstStyle/>
        <a:p>
          <a:endParaRPr lang="pt-BR"/>
        </a:p>
      </dgm:t>
    </dgm:pt>
    <dgm:pt modelId="{5CBE6F3B-5657-439F-AC8F-D62C01DF9F6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Perspectiva antecipatória</a:t>
          </a:r>
        </a:p>
      </dgm:t>
    </dgm:pt>
    <dgm:pt modelId="{FEC62F61-8DC5-4E42-808C-5262E5F0E99B}" type="sibTrans" cxnId="{20EA31FD-B74A-435B-9C07-969D481DDB7C}">
      <dgm:prSet/>
      <dgm:spPr/>
      <dgm:t>
        <a:bodyPr/>
        <a:lstStyle/>
        <a:p>
          <a:endParaRPr lang="pt-BR"/>
        </a:p>
      </dgm:t>
    </dgm:pt>
    <dgm:pt modelId="{5B0AC9D6-5710-4ABE-891D-1ABB712F6075}" type="parTrans" cxnId="{20EA31FD-B74A-435B-9C07-969D481DDB7C}">
      <dgm:prSet/>
      <dgm:spPr/>
      <dgm:t>
        <a:bodyPr/>
        <a:lstStyle/>
        <a:p>
          <a:endParaRPr lang="pt-BR"/>
        </a:p>
      </dgm:t>
    </dgm:pt>
    <dgm:pt modelId="{F26ABEB0-19AC-4019-AA41-0FE88C3083AB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Dimensão econômica</a:t>
          </a:r>
        </a:p>
      </dgm:t>
    </dgm:pt>
    <dgm:pt modelId="{8AA3C92D-1E7D-4C75-81E0-D707F4B5FCB3}" type="sibTrans" cxnId="{5B4559DB-E534-4BEC-A3B2-BC36E981D02A}">
      <dgm:prSet/>
      <dgm:spPr/>
      <dgm:t>
        <a:bodyPr/>
        <a:lstStyle/>
        <a:p>
          <a:endParaRPr lang="pt-BR"/>
        </a:p>
      </dgm:t>
    </dgm:pt>
    <dgm:pt modelId="{4E9798EE-6925-46AD-BBBE-F5F347B05943}" type="parTrans" cxnId="{5B4559DB-E534-4BEC-A3B2-BC36E981D02A}">
      <dgm:prSet/>
      <dgm:spPr/>
      <dgm:t>
        <a:bodyPr/>
        <a:lstStyle/>
        <a:p>
          <a:endParaRPr lang="pt-BR"/>
        </a:p>
      </dgm:t>
    </dgm:pt>
    <dgm:pt modelId="{7C148E29-2D90-4782-B5C2-E6C0B264261A}" type="pres">
      <dgm:prSet presAssocID="{66349FA4-7A5B-42FA-A2B9-53B328037C7C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6A43156-AF57-4F1F-B712-3C0B5758C39E}" type="pres">
      <dgm:prSet presAssocID="{527E9DC1-AEE1-466F-A968-930679C478CB}" presName="vertOne" presStyleCnt="0"/>
      <dgm:spPr/>
    </dgm:pt>
    <dgm:pt modelId="{2C043214-65A1-479A-9A3B-4CA1A24677C3}" type="pres">
      <dgm:prSet presAssocID="{527E9DC1-AEE1-466F-A968-930679C478CB}" presName="txOne" presStyleLbl="node0" presStyleIdx="0" presStyleCnt="1">
        <dgm:presLayoutVars>
          <dgm:chPref val="3"/>
        </dgm:presLayoutVars>
      </dgm:prSet>
      <dgm:spPr/>
    </dgm:pt>
    <dgm:pt modelId="{1DEC2AF0-B224-4420-A1B1-8691AE367C98}" type="pres">
      <dgm:prSet presAssocID="{527E9DC1-AEE1-466F-A968-930679C478CB}" presName="parTransOne" presStyleCnt="0"/>
      <dgm:spPr/>
    </dgm:pt>
    <dgm:pt modelId="{C2515DE7-F83F-476F-B110-751174859BBE}" type="pres">
      <dgm:prSet presAssocID="{527E9DC1-AEE1-466F-A968-930679C478CB}" presName="horzOne" presStyleCnt="0"/>
      <dgm:spPr/>
    </dgm:pt>
    <dgm:pt modelId="{829426EF-CE13-4325-BA2B-2C73059051AB}" type="pres">
      <dgm:prSet presAssocID="{6BB826FD-4768-48A6-B26C-C05FDBA3BEA3}" presName="vertTwo" presStyleCnt="0"/>
      <dgm:spPr/>
    </dgm:pt>
    <dgm:pt modelId="{E6330E0A-0653-4CA0-AA88-8A15520EB70B}" type="pres">
      <dgm:prSet presAssocID="{6BB826FD-4768-48A6-B26C-C05FDBA3BEA3}" presName="txTwo" presStyleLbl="node2" presStyleIdx="0" presStyleCnt="2" custScaleX="73965">
        <dgm:presLayoutVars>
          <dgm:chPref val="3"/>
        </dgm:presLayoutVars>
      </dgm:prSet>
      <dgm:spPr/>
    </dgm:pt>
    <dgm:pt modelId="{640C4D18-3FA2-4B9A-8ED3-730FBBD25376}" type="pres">
      <dgm:prSet presAssocID="{6BB826FD-4768-48A6-B26C-C05FDBA3BEA3}" presName="parTransTwo" presStyleCnt="0"/>
      <dgm:spPr/>
    </dgm:pt>
    <dgm:pt modelId="{B43730E6-F2D8-4AA9-B170-38F069FD0610}" type="pres">
      <dgm:prSet presAssocID="{6BB826FD-4768-48A6-B26C-C05FDBA3BEA3}" presName="horzTwo" presStyleCnt="0"/>
      <dgm:spPr/>
    </dgm:pt>
    <dgm:pt modelId="{01A589C3-D873-4D14-8BFC-AB6B65E566F6}" type="pres">
      <dgm:prSet presAssocID="{90DCF598-8B82-413A-8B22-D20BE257A2B5}" presName="vertThree" presStyleCnt="0"/>
      <dgm:spPr/>
    </dgm:pt>
    <dgm:pt modelId="{F76A2657-AF80-4B87-8B58-32B2CDCB0D38}" type="pres">
      <dgm:prSet presAssocID="{90DCF598-8B82-413A-8B22-D20BE257A2B5}" presName="txThree" presStyleLbl="node3" presStyleIdx="0" presStyleCnt="3" custLinFactNeighborX="16054" custLinFactNeighborY="182">
        <dgm:presLayoutVars>
          <dgm:chPref val="3"/>
        </dgm:presLayoutVars>
      </dgm:prSet>
      <dgm:spPr/>
    </dgm:pt>
    <dgm:pt modelId="{D4F9D993-F893-44F6-B3B8-73549603AA09}" type="pres">
      <dgm:prSet presAssocID="{90DCF598-8B82-413A-8B22-D20BE257A2B5}" presName="horzThree" presStyleCnt="0"/>
      <dgm:spPr/>
    </dgm:pt>
    <dgm:pt modelId="{3EEF9B8F-660E-4967-BFD6-6A3FC8283F77}" type="pres">
      <dgm:prSet presAssocID="{E2649097-B442-411F-BDC5-9989472981F9}" presName="sibSpaceThree" presStyleCnt="0"/>
      <dgm:spPr/>
    </dgm:pt>
    <dgm:pt modelId="{7F7C5BDF-FDD9-40DF-A9CE-B09667D88FED}" type="pres">
      <dgm:prSet presAssocID="{31EAC63A-BEEE-45CF-AFE3-BA51843F5F73}" presName="vertThree" presStyleCnt="0"/>
      <dgm:spPr/>
    </dgm:pt>
    <dgm:pt modelId="{242DF71C-AE76-428E-B30C-A9348ED28281}" type="pres">
      <dgm:prSet presAssocID="{31EAC63A-BEEE-45CF-AFE3-BA51843F5F73}" presName="txThree" presStyleLbl="node3" presStyleIdx="1" presStyleCnt="3" custLinFactNeighborX="26442" custLinFactNeighborY="182">
        <dgm:presLayoutVars>
          <dgm:chPref val="3"/>
        </dgm:presLayoutVars>
      </dgm:prSet>
      <dgm:spPr/>
    </dgm:pt>
    <dgm:pt modelId="{68088ECD-2307-4CF4-BC6D-6BFB5416EF31}" type="pres">
      <dgm:prSet presAssocID="{31EAC63A-BEEE-45CF-AFE3-BA51843F5F73}" presName="horzThree" presStyleCnt="0"/>
      <dgm:spPr/>
    </dgm:pt>
    <dgm:pt modelId="{00F9D9A9-94CB-464C-9EEA-F283DE88DAB9}" type="pres">
      <dgm:prSet presAssocID="{DD39CD9C-11A0-481B-B27F-32CDB16170FC}" presName="sibSpaceTwo" presStyleCnt="0"/>
      <dgm:spPr/>
    </dgm:pt>
    <dgm:pt modelId="{A6D3214A-E8D5-4B39-BD46-3C83D93F4935}" type="pres">
      <dgm:prSet presAssocID="{5CBE6F3B-5657-439F-AC8F-D62C01DF9F60}" presName="vertTwo" presStyleCnt="0"/>
      <dgm:spPr/>
    </dgm:pt>
    <dgm:pt modelId="{0CA087B6-1F42-4052-BA13-224A3277BDD5}" type="pres">
      <dgm:prSet presAssocID="{5CBE6F3B-5657-439F-AC8F-D62C01DF9F60}" presName="txTwo" presStyleLbl="node2" presStyleIdx="1" presStyleCnt="2" custScaleX="139724" custLinFactNeighborX="-16998" custLinFactNeighborY="1">
        <dgm:presLayoutVars>
          <dgm:chPref val="3"/>
        </dgm:presLayoutVars>
      </dgm:prSet>
      <dgm:spPr/>
    </dgm:pt>
    <dgm:pt modelId="{2041D083-D533-4F0C-9311-D33B214CD659}" type="pres">
      <dgm:prSet presAssocID="{5CBE6F3B-5657-439F-AC8F-D62C01DF9F60}" presName="parTransTwo" presStyleCnt="0"/>
      <dgm:spPr/>
    </dgm:pt>
    <dgm:pt modelId="{4D45D8F7-5C5C-4FB7-983F-1ED4B276C57A}" type="pres">
      <dgm:prSet presAssocID="{5CBE6F3B-5657-439F-AC8F-D62C01DF9F60}" presName="horzTwo" presStyleCnt="0"/>
      <dgm:spPr/>
    </dgm:pt>
    <dgm:pt modelId="{C33C4515-A930-42A5-8AA8-DBB5AFB99C73}" type="pres">
      <dgm:prSet presAssocID="{F26ABEB0-19AC-4019-AA41-0FE88C3083AB}" presName="vertThree" presStyleCnt="0"/>
      <dgm:spPr/>
    </dgm:pt>
    <dgm:pt modelId="{385CC011-F67C-4131-B01F-4BDCD48FA041}" type="pres">
      <dgm:prSet presAssocID="{F26ABEB0-19AC-4019-AA41-0FE88C3083AB}" presName="txThree" presStyleLbl="node3" presStyleIdx="2" presStyleCnt="3" custLinFactNeighborX="10388" custLinFactNeighborY="182">
        <dgm:presLayoutVars>
          <dgm:chPref val="3"/>
        </dgm:presLayoutVars>
      </dgm:prSet>
      <dgm:spPr/>
    </dgm:pt>
    <dgm:pt modelId="{C0F3F534-25A9-4001-94F3-ECD8E5C73F74}" type="pres">
      <dgm:prSet presAssocID="{F26ABEB0-19AC-4019-AA41-0FE88C3083AB}" presName="horzThree" presStyleCnt="0"/>
      <dgm:spPr/>
    </dgm:pt>
  </dgm:ptLst>
  <dgm:cxnLst>
    <dgm:cxn modelId="{6EB40A25-205D-421F-92C1-6B0769AEF954}" srcId="{527E9DC1-AEE1-466F-A968-930679C478CB}" destId="{6BB826FD-4768-48A6-B26C-C05FDBA3BEA3}" srcOrd="0" destOrd="0" parTransId="{DB5649C9-D6CD-4464-9FE8-D5FE02F41072}" sibTransId="{DD39CD9C-11A0-481B-B27F-32CDB16170FC}"/>
    <dgm:cxn modelId="{5009BC39-1940-449B-A3B5-F00F0E10B5A0}" srcId="{6BB826FD-4768-48A6-B26C-C05FDBA3BEA3}" destId="{90DCF598-8B82-413A-8B22-D20BE257A2B5}" srcOrd="0" destOrd="0" parTransId="{404B2729-30D9-4072-9FF2-9A80F8304D48}" sibTransId="{E2649097-B442-411F-BDC5-9989472981F9}"/>
    <dgm:cxn modelId="{DFC5C55B-0F3E-4028-AB28-C3ED65C7AE55}" type="presOf" srcId="{6BB826FD-4768-48A6-B26C-C05FDBA3BEA3}" destId="{E6330E0A-0653-4CA0-AA88-8A15520EB70B}" srcOrd="0" destOrd="0" presId="urn:microsoft.com/office/officeart/2005/8/layout/hierarchy4"/>
    <dgm:cxn modelId="{29072649-0AF1-4413-A6C5-DA8D48CF6969}" type="presOf" srcId="{5CBE6F3B-5657-439F-AC8F-D62C01DF9F60}" destId="{0CA087B6-1F42-4052-BA13-224A3277BDD5}" srcOrd="0" destOrd="0" presId="urn:microsoft.com/office/officeart/2005/8/layout/hierarchy4"/>
    <dgm:cxn modelId="{9FC70072-E96C-4942-96F4-8D2109D9E7B8}" type="presOf" srcId="{66349FA4-7A5B-42FA-A2B9-53B328037C7C}" destId="{7C148E29-2D90-4782-B5C2-E6C0B264261A}" srcOrd="0" destOrd="0" presId="urn:microsoft.com/office/officeart/2005/8/layout/hierarchy4"/>
    <dgm:cxn modelId="{2EEBBD77-9CD6-43A3-9A49-83ED4C3C5D6A}" srcId="{66349FA4-7A5B-42FA-A2B9-53B328037C7C}" destId="{527E9DC1-AEE1-466F-A968-930679C478CB}" srcOrd="0" destOrd="0" parTransId="{0B80CBA0-6ED3-4AB4-9440-02FC12545359}" sibTransId="{0C985A61-594A-4AF8-ABB8-2C59413B4ACD}"/>
    <dgm:cxn modelId="{20238994-BDC2-458D-8C56-0CDBF4CD7A94}" type="presOf" srcId="{F26ABEB0-19AC-4019-AA41-0FE88C3083AB}" destId="{385CC011-F67C-4131-B01F-4BDCD48FA041}" srcOrd="0" destOrd="0" presId="urn:microsoft.com/office/officeart/2005/8/layout/hierarchy4"/>
    <dgm:cxn modelId="{9B1FA9A0-F92B-4B5C-81FE-F46A745590FF}" type="presOf" srcId="{31EAC63A-BEEE-45CF-AFE3-BA51843F5F73}" destId="{242DF71C-AE76-428E-B30C-A9348ED28281}" srcOrd="0" destOrd="0" presId="urn:microsoft.com/office/officeart/2005/8/layout/hierarchy4"/>
    <dgm:cxn modelId="{0A331BC4-ADB7-4CC7-9669-323F632B61BB}" type="presOf" srcId="{90DCF598-8B82-413A-8B22-D20BE257A2B5}" destId="{F76A2657-AF80-4B87-8B58-32B2CDCB0D38}" srcOrd="0" destOrd="0" presId="urn:microsoft.com/office/officeart/2005/8/layout/hierarchy4"/>
    <dgm:cxn modelId="{C9AD9EDA-C7BE-4B0C-B5A1-4BCD5BDD52D6}" type="presOf" srcId="{527E9DC1-AEE1-466F-A968-930679C478CB}" destId="{2C043214-65A1-479A-9A3B-4CA1A24677C3}" srcOrd="0" destOrd="0" presId="urn:microsoft.com/office/officeart/2005/8/layout/hierarchy4"/>
    <dgm:cxn modelId="{5B4559DB-E534-4BEC-A3B2-BC36E981D02A}" srcId="{5CBE6F3B-5657-439F-AC8F-D62C01DF9F60}" destId="{F26ABEB0-19AC-4019-AA41-0FE88C3083AB}" srcOrd="0" destOrd="0" parTransId="{4E9798EE-6925-46AD-BBBE-F5F347B05943}" sibTransId="{8AA3C92D-1E7D-4C75-81E0-D707F4B5FCB3}"/>
    <dgm:cxn modelId="{7DD250F2-E8CB-4F76-A25A-1D39B4912FBB}" srcId="{6BB826FD-4768-48A6-B26C-C05FDBA3BEA3}" destId="{31EAC63A-BEEE-45CF-AFE3-BA51843F5F73}" srcOrd="1" destOrd="0" parTransId="{47397E4B-AE0E-43F1-BB2D-81EF6BC7D516}" sibTransId="{576C8177-1C03-4B15-9B20-7B8127747402}"/>
    <dgm:cxn modelId="{20EA31FD-B74A-435B-9C07-969D481DDB7C}" srcId="{527E9DC1-AEE1-466F-A968-930679C478CB}" destId="{5CBE6F3B-5657-439F-AC8F-D62C01DF9F60}" srcOrd="1" destOrd="0" parTransId="{5B0AC9D6-5710-4ABE-891D-1ABB712F6075}" sibTransId="{FEC62F61-8DC5-4E42-808C-5262E5F0E99B}"/>
    <dgm:cxn modelId="{F8ED6D25-0C68-4D36-85A3-97AF8437B516}" type="presParOf" srcId="{7C148E29-2D90-4782-B5C2-E6C0B264261A}" destId="{46A43156-AF57-4F1F-B712-3C0B5758C39E}" srcOrd="0" destOrd="0" presId="urn:microsoft.com/office/officeart/2005/8/layout/hierarchy4"/>
    <dgm:cxn modelId="{6E86E03C-CEBA-46E7-8A5D-2B28F8001240}" type="presParOf" srcId="{46A43156-AF57-4F1F-B712-3C0B5758C39E}" destId="{2C043214-65A1-479A-9A3B-4CA1A24677C3}" srcOrd="0" destOrd="0" presId="urn:microsoft.com/office/officeart/2005/8/layout/hierarchy4"/>
    <dgm:cxn modelId="{4ED3F679-A750-4D57-80BE-D095A5470097}" type="presParOf" srcId="{46A43156-AF57-4F1F-B712-3C0B5758C39E}" destId="{1DEC2AF0-B224-4420-A1B1-8691AE367C98}" srcOrd="1" destOrd="0" presId="urn:microsoft.com/office/officeart/2005/8/layout/hierarchy4"/>
    <dgm:cxn modelId="{33F7EE5E-63C7-4AD9-AD54-F3B0F4C11891}" type="presParOf" srcId="{46A43156-AF57-4F1F-B712-3C0B5758C39E}" destId="{C2515DE7-F83F-476F-B110-751174859BBE}" srcOrd="2" destOrd="0" presId="urn:microsoft.com/office/officeart/2005/8/layout/hierarchy4"/>
    <dgm:cxn modelId="{1B2CEA42-D461-468A-B11D-12800CA13EAC}" type="presParOf" srcId="{C2515DE7-F83F-476F-B110-751174859BBE}" destId="{829426EF-CE13-4325-BA2B-2C73059051AB}" srcOrd="0" destOrd="0" presId="urn:microsoft.com/office/officeart/2005/8/layout/hierarchy4"/>
    <dgm:cxn modelId="{AC606E06-E539-4D7E-A2AE-52B10CF57578}" type="presParOf" srcId="{829426EF-CE13-4325-BA2B-2C73059051AB}" destId="{E6330E0A-0653-4CA0-AA88-8A15520EB70B}" srcOrd="0" destOrd="0" presId="urn:microsoft.com/office/officeart/2005/8/layout/hierarchy4"/>
    <dgm:cxn modelId="{9B8A01DA-4127-4864-90D0-3CC6CB4EE95E}" type="presParOf" srcId="{829426EF-CE13-4325-BA2B-2C73059051AB}" destId="{640C4D18-3FA2-4B9A-8ED3-730FBBD25376}" srcOrd="1" destOrd="0" presId="urn:microsoft.com/office/officeart/2005/8/layout/hierarchy4"/>
    <dgm:cxn modelId="{DB4EF8C2-02C5-437C-8FB4-6BF88EEAFDB2}" type="presParOf" srcId="{829426EF-CE13-4325-BA2B-2C73059051AB}" destId="{B43730E6-F2D8-4AA9-B170-38F069FD0610}" srcOrd="2" destOrd="0" presId="urn:microsoft.com/office/officeart/2005/8/layout/hierarchy4"/>
    <dgm:cxn modelId="{E5AA9239-30C2-4DE4-843B-48920E9839CA}" type="presParOf" srcId="{B43730E6-F2D8-4AA9-B170-38F069FD0610}" destId="{01A589C3-D873-4D14-8BFC-AB6B65E566F6}" srcOrd="0" destOrd="0" presId="urn:microsoft.com/office/officeart/2005/8/layout/hierarchy4"/>
    <dgm:cxn modelId="{022B5C83-BF6B-434A-B7C9-079C0AAEE4EA}" type="presParOf" srcId="{01A589C3-D873-4D14-8BFC-AB6B65E566F6}" destId="{F76A2657-AF80-4B87-8B58-32B2CDCB0D38}" srcOrd="0" destOrd="0" presId="urn:microsoft.com/office/officeart/2005/8/layout/hierarchy4"/>
    <dgm:cxn modelId="{40838DB4-0093-4B55-B2AF-7A436961E7CD}" type="presParOf" srcId="{01A589C3-D873-4D14-8BFC-AB6B65E566F6}" destId="{D4F9D993-F893-44F6-B3B8-73549603AA09}" srcOrd="1" destOrd="0" presId="urn:microsoft.com/office/officeart/2005/8/layout/hierarchy4"/>
    <dgm:cxn modelId="{6D0593F0-7171-4514-BE58-A9A94CB73904}" type="presParOf" srcId="{B43730E6-F2D8-4AA9-B170-38F069FD0610}" destId="{3EEF9B8F-660E-4967-BFD6-6A3FC8283F77}" srcOrd="1" destOrd="0" presId="urn:microsoft.com/office/officeart/2005/8/layout/hierarchy4"/>
    <dgm:cxn modelId="{580E1B4E-AD77-4C34-8A73-0224D2FEBC84}" type="presParOf" srcId="{B43730E6-F2D8-4AA9-B170-38F069FD0610}" destId="{7F7C5BDF-FDD9-40DF-A9CE-B09667D88FED}" srcOrd="2" destOrd="0" presId="urn:microsoft.com/office/officeart/2005/8/layout/hierarchy4"/>
    <dgm:cxn modelId="{09E93801-BB51-4689-876B-974DF1A0719C}" type="presParOf" srcId="{7F7C5BDF-FDD9-40DF-A9CE-B09667D88FED}" destId="{242DF71C-AE76-428E-B30C-A9348ED28281}" srcOrd="0" destOrd="0" presId="urn:microsoft.com/office/officeart/2005/8/layout/hierarchy4"/>
    <dgm:cxn modelId="{C9A0A386-F155-4206-84B5-DA62EB0E8465}" type="presParOf" srcId="{7F7C5BDF-FDD9-40DF-A9CE-B09667D88FED}" destId="{68088ECD-2307-4CF4-BC6D-6BFB5416EF31}" srcOrd="1" destOrd="0" presId="urn:microsoft.com/office/officeart/2005/8/layout/hierarchy4"/>
    <dgm:cxn modelId="{9C100473-A40F-4CBB-94EC-51ABCF3326C1}" type="presParOf" srcId="{C2515DE7-F83F-476F-B110-751174859BBE}" destId="{00F9D9A9-94CB-464C-9EEA-F283DE88DAB9}" srcOrd="1" destOrd="0" presId="urn:microsoft.com/office/officeart/2005/8/layout/hierarchy4"/>
    <dgm:cxn modelId="{6243B4BE-157B-484C-9B8A-842415CBA598}" type="presParOf" srcId="{C2515DE7-F83F-476F-B110-751174859BBE}" destId="{A6D3214A-E8D5-4B39-BD46-3C83D93F4935}" srcOrd="2" destOrd="0" presId="urn:microsoft.com/office/officeart/2005/8/layout/hierarchy4"/>
    <dgm:cxn modelId="{30C6FACE-F6F8-4955-8D36-1FBFA48D6ED4}" type="presParOf" srcId="{A6D3214A-E8D5-4B39-BD46-3C83D93F4935}" destId="{0CA087B6-1F42-4052-BA13-224A3277BDD5}" srcOrd="0" destOrd="0" presId="urn:microsoft.com/office/officeart/2005/8/layout/hierarchy4"/>
    <dgm:cxn modelId="{3B6E2BA5-3FB9-4FFC-868E-0DA266461165}" type="presParOf" srcId="{A6D3214A-E8D5-4B39-BD46-3C83D93F4935}" destId="{2041D083-D533-4F0C-9311-D33B214CD659}" srcOrd="1" destOrd="0" presId="urn:microsoft.com/office/officeart/2005/8/layout/hierarchy4"/>
    <dgm:cxn modelId="{BDDA3DD9-884F-425F-8572-F4D7E317DB2B}" type="presParOf" srcId="{A6D3214A-E8D5-4B39-BD46-3C83D93F4935}" destId="{4D45D8F7-5C5C-4FB7-983F-1ED4B276C57A}" srcOrd="2" destOrd="0" presId="urn:microsoft.com/office/officeart/2005/8/layout/hierarchy4"/>
    <dgm:cxn modelId="{7C8B58B7-8336-4018-A8F5-97DD2E900112}" type="presParOf" srcId="{4D45D8F7-5C5C-4FB7-983F-1ED4B276C57A}" destId="{C33C4515-A930-42A5-8AA8-DBB5AFB99C73}" srcOrd="0" destOrd="0" presId="urn:microsoft.com/office/officeart/2005/8/layout/hierarchy4"/>
    <dgm:cxn modelId="{552603C9-32E4-4F99-9C5D-34D57494FD22}" type="presParOf" srcId="{C33C4515-A930-42A5-8AA8-DBB5AFB99C73}" destId="{385CC011-F67C-4131-B01F-4BDCD48FA041}" srcOrd="0" destOrd="0" presId="urn:microsoft.com/office/officeart/2005/8/layout/hierarchy4"/>
    <dgm:cxn modelId="{51209B75-D0BB-468B-9F46-378EAF9303B7}" type="presParOf" srcId="{C33C4515-A930-42A5-8AA8-DBB5AFB99C73}" destId="{C0F3F534-25A9-4001-94F3-ECD8E5C73F74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611C942-1A4F-4534-8BDE-4D0D6A171D27}" type="doc">
      <dgm:prSet loTypeId="urn:microsoft.com/office/officeart/2005/8/layout/hierarchy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8D93125-D929-4653-8669-2373ACB7FC0A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 err="1">
              <a:latin typeface="Epilogue" panose="020B0604020202020204" charset="0"/>
            </a:rPr>
            <a:t>Contratualização</a:t>
          </a:r>
          <a:r>
            <a:rPr lang="pt-BR" b="1" dirty="0">
              <a:latin typeface="Epilogue" panose="020B0604020202020204" charset="0"/>
            </a:rPr>
            <a:t> territorial</a:t>
          </a:r>
        </a:p>
      </dgm:t>
    </dgm:pt>
    <dgm:pt modelId="{A77B87F2-A5BF-458C-94A6-C1D698EFB899}" type="parTrans" cxnId="{41D13089-3FED-4870-B7F5-E5958C2F6638}">
      <dgm:prSet/>
      <dgm:spPr/>
      <dgm:t>
        <a:bodyPr/>
        <a:lstStyle/>
        <a:p>
          <a:endParaRPr lang="pt-BR"/>
        </a:p>
      </dgm:t>
    </dgm:pt>
    <dgm:pt modelId="{0AE38954-9EAE-4D70-8723-CF1D424DB952}" type="sibTrans" cxnId="{41D13089-3FED-4870-B7F5-E5958C2F6638}">
      <dgm:prSet/>
      <dgm:spPr/>
      <dgm:t>
        <a:bodyPr/>
        <a:lstStyle/>
        <a:p>
          <a:endParaRPr lang="pt-BR"/>
        </a:p>
      </dgm:t>
    </dgm:pt>
    <dgm:pt modelId="{279EB6C2-5EFF-469D-968B-9B60786F4CF5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Aplica-se a arranjos governativos </a:t>
          </a:r>
          <a:r>
            <a:rPr lang="pt-BR" b="1" dirty="0" err="1">
              <a:latin typeface="Epilogue" panose="020B0604020202020204" charset="0"/>
            </a:rPr>
            <a:t>multinível</a:t>
          </a:r>
          <a:endParaRPr lang="pt-BR" b="1" dirty="0">
            <a:latin typeface="Epilogue" panose="020B0604020202020204" charset="0"/>
          </a:endParaRPr>
        </a:p>
      </dgm:t>
    </dgm:pt>
    <dgm:pt modelId="{5749BAD1-A658-4D82-B466-99D2E59BD047}" type="parTrans" cxnId="{B7F2E41F-7442-49AB-B23B-82A259BD9B31}">
      <dgm:prSet/>
      <dgm:spPr/>
      <dgm:t>
        <a:bodyPr/>
        <a:lstStyle/>
        <a:p>
          <a:endParaRPr lang="pt-BR"/>
        </a:p>
      </dgm:t>
    </dgm:pt>
    <dgm:pt modelId="{50BE3681-437A-4746-8946-592FCBDFB3D8}" type="sibTrans" cxnId="{B7F2E41F-7442-49AB-B23B-82A259BD9B31}">
      <dgm:prSet/>
      <dgm:spPr/>
      <dgm:t>
        <a:bodyPr/>
        <a:lstStyle/>
        <a:p>
          <a:endParaRPr lang="pt-BR"/>
        </a:p>
      </dgm:t>
    </dgm:pt>
    <dgm:pt modelId="{BC84B847-E8F8-4DEE-8595-2394C7D637AA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Dimensão participativa</a:t>
          </a:r>
        </a:p>
      </dgm:t>
    </dgm:pt>
    <dgm:pt modelId="{BE49D4ED-56EC-4F2B-9CDF-98E75A85E6D4}" type="parTrans" cxnId="{C7348AC2-EAC2-4C2B-8304-4D69532AD90C}">
      <dgm:prSet/>
      <dgm:spPr/>
      <dgm:t>
        <a:bodyPr/>
        <a:lstStyle/>
        <a:p>
          <a:endParaRPr lang="pt-BR"/>
        </a:p>
      </dgm:t>
    </dgm:pt>
    <dgm:pt modelId="{3D1D40FA-7890-439D-B786-B669B26A7AA1}" type="sibTrans" cxnId="{C7348AC2-EAC2-4C2B-8304-4D69532AD90C}">
      <dgm:prSet/>
      <dgm:spPr/>
      <dgm:t>
        <a:bodyPr/>
        <a:lstStyle/>
        <a:p>
          <a:endParaRPr lang="pt-BR"/>
        </a:p>
      </dgm:t>
    </dgm:pt>
    <dgm:pt modelId="{96924DC9-034A-456F-AA80-6E83A8B297DE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Dimensão da gestão</a:t>
          </a:r>
        </a:p>
      </dgm:t>
    </dgm:pt>
    <dgm:pt modelId="{E1BC20A0-7735-4C7A-9356-40544DF5E8A9}" type="parTrans" cxnId="{3D9E246A-EEFD-4D51-AC84-3360F0A8E00B}">
      <dgm:prSet/>
      <dgm:spPr/>
      <dgm:t>
        <a:bodyPr/>
        <a:lstStyle/>
        <a:p>
          <a:endParaRPr lang="pt-BR"/>
        </a:p>
      </dgm:t>
    </dgm:pt>
    <dgm:pt modelId="{0551EA77-8AE9-421A-8822-9245A0F4C271}" type="sibTrans" cxnId="{3D9E246A-EEFD-4D51-AC84-3360F0A8E00B}">
      <dgm:prSet/>
      <dgm:spPr/>
      <dgm:t>
        <a:bodyPr/>
        <a:lstStyle/>
        <a:p>
          <a:endParaRPr lang="pt-BR"/>
        </a:p>
      </dgm:t>
    </dgm:pt>
    <dgm:pt modelId="{6278FAA1-06C9-4C2C-9D7D-EA172B24FB17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É uma prática política e administrativa</a:t>
          </a:r>
        </a:p>
      </dgm:t>
    </dgm:pt>
    <dgm:pt modelId="{A54D6969-9C9D-45B9-9203-C2F1DFA3FFEC}" type="parTrans" cxnId="{BF7C8893-0D52-44F7-9B5A-0C5A828764BB}">
      <dgm:prSet/>
      <dgm:spPr/>
      <dgm:t>
        <a:bodyPr/>
        <a:lstStyle/>
        <a:p>
          <a:endParaRPr lang="pt-BR"/>
        </a:p>
      </dgm:t>
    </dgm:pt>
    <dgm:pt modelId="{C54EBC6C-5030-4992-9108-9FD23F11A45B}" type="sibTrans" cxnId="{BF7C8893-0D52-44F7-9B5A-0C5A828764BB}">
      <dgm:prSet/>
      <dgm:spPr/>
      <dgm:t>
        <a:bodyPr/>
        <a:lstStyle/>
        <a:p>
          <a:endParaRPr lang="pt-BR"/>
        </a:p>
      </dgm:t>
    </dgm:pt>
    <dgm:pt modelId="{31F29420-4C9D-4986-B856-6F671276124F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>
              <a:latin typeface="Epilogue" panose="020B0604020202020204" charset="0"/>
            </a:rPr>
            <a:t>Dimensão cultural</a:t>
          </a:r>
        </a:p>
      </dgm:t>
    </dgm:pt>
    <dgm:pt modelId="{594D1B17-D203-492D-9C6F-C6B263B47C40}" type="parTrans" cxnId="{94187D6C-1131-4D3F-9A63-D3D6F6C3E75B}">
      <dgm:prSet/>
      <dgm:spPr/>
      <dgm:t>
        <a:bodyPr/>
        <a:lstStyle/>
        <a:p>
          <a:endParaRPr lang="pt-BR"/>
        </a:p>
      </dgm:t>
    </dgm:pt>
    <dgm:pt modelId="{FB27D058-9209-4BCB-9245-E946A0AE7689}" type="sibTrans" cxnId="{94187D6C-1131-4D3F-9A63-D3D6F6C3E75B}">
      <dgm:prSet/>
      <dgm:spPr/>
      <dgm:t>
        <a:bodyPr/>
        <a:lstStyle/>
        <a:p>
          <a:endParaRPr lang="pt-BR"/>
        </a:p>
      </dgm:t>
    </dgm:pt>
    <dgm:pt modelId="{53E11357-80D2-4FCB-926F-6F0925515DD9}" type="pres">
      <dgm:prSet presAssocID="{E611C942-1A4F-4534-8BDE-4D0D6A171D27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F637236-93D9-468E-A3AF-1E97F5B98F55}" type="pres">
      <dgm:prSet presAssocID="{B8D93125-D929-4653-8669-2373ACB7FC0A}" presName="vertOne" presStyleCnt="0"/>
      <dgm:spPr/>
    </dgm:pt>
    <dgm:pt modelId="{D023AF9C-761B-4EF7-9230-FC9DD6CC7E3D}" type="pres">
      <dgm:prSet presAssocID="{B8D93125-D929-4653-8669-2373ACB7FC0A}" presName="txOne" presStyleLbl="node0" presStyleIdx="0" presStyleCnt="1">
        <dgm:presLayoutVars>
          <dgm:chPref val="3"/>
        </dgm:presLayoutVars>
      </dgm:prSet>
      <dgm:spPr/>
    </dgm:pt>
    <dgm:pt modelId="{0F093DD3-1B53-44C4-A394-2FDED42E7F2B}" type="pres">
      <dgm:prSet presAssocID="{B8D93125-D929-4653-8669-2373ACB7FC0A}" presName="parTransOne" presStyleCnt="0"/>
      <dgm:spPr/>
    </dgm:pt>
    <dgm:pt modelId="{28FF0811-A9DB-47C4-B8F3-AA12377C74D1}" type="pres">
      <dgm:prSet presAssocID="{B8D93125-D929-4653-8669-2373ACB7FC0A}" presName="horzOne" presStyleCnt="0"/>
      <dgm:spPr/>
    </dgm:pt>
    <dgm:pt modelId="{8B1FC7C5-585F-4925-A4B1-37A3999F0FAD}" type="pres">
      <dgm:prSet presAssocID="{279EB6C2-5EFF-469D-968B-9B60786F4CF5}" presName="vertTwo" presStyleCnt="0"/>
      <dgm:spPr/>
    </dgm:pt>
    <dgm:pt modelId="{617DDB8F-3CAD-4A1C-9DDA-6653E5D6936B}" type="pres">
      <dgm:prSet presAssocID="{279EB6C2-5EFF-469D-968B-9B60786F4CF5}" presName="txTwo" presStyleLbl="node2" presStyleIdx="0" presStyleCnt="2" custScaleX="82154">
        <dgm:presLayoutVars>
          <dgm:chPref val="3"/>
        </dgm:presLayoutVars>
      </dgm:prSet>
      <dgm:spPr/>
    </dgm:pt>
    <dgm:pt modelId="{1AC31A65-C843-4AD3-8754-22755E251D85}" type="pres">
      <dgm:prSet presAssocID="{279EB6C2-5EFF-469D-968B-9B60786F4CF5}" presName="parTransTwo" presStyleCnt="0"/>
      <dgm:spPr/>
    </dgm:pt>
    <dgm:pt modelId="{C0CF74E1-77C1-4D85-A547-077ADA28477B}" type="pres">
      <dgm:prSet presAssocID="{279EB6C2-5EFF-469D-968B-9B60786F4CF5}" presName="horzTwo" presStyleCnt="0"/>
      <dgm:spPr/>
    </dgm:pt>
    <dgm:pt modelId="{9CFF0631-EC22-424D-B173-E29CA2EC8C6E}" type="pres">
      <dgm:prSet presAssocID="{BC84B847-E8F8-4DEE-8595-2394C7D637AA}" presName="vertThree" presStyleCnt="0"/>
      <dgm:spPr/>
    </dgm:pt>
    <dgm:pt modelId="{23156FED-2A08-4791-A3BE-5466D75F598E}" type="pres">
      <dgm:prSet presAssocID="{BC84B847-E8F8-4DEE-8595-2394C7D637AA}" presName="txThree" presStyleLbl="node3" presStyleIdx="0" presStyleCnt="3" custLinFactNeighborX="10042" custLinFactNeighborY="144">
        <dgm:presLayoutVars>
          <dgm:chPref val="3"/>
        </dgm:presLayoutVars>
      </dgm:prSet>
      <dgm:spPr/>
    </dgm:pt>
    <dgm:pt modelId="{4C4A1859-B3A1-453A-AD43-CFF10AD1684A}" type="pres">
      <dgm:prSet presAssocID="{BC84B847-E8F8-4DEE-8595-2394C7D637AA}" presName="horzThree" presStyleCnt="0"/>
      <dgm:spPr/>
    </dgm:pt>
    <dgm:pt modelId="{F77F3F85-F1FF-4AE8-BF8B-65D089189AAD}" type="pres">
      <dgm:prSet presAssocID="{3D1D40FA-7890-439D-B786-B669B26A7AA1}" presName="sibSpaceThree" presStyleCnt="0"/>
      <dgm:spPr/>
    </dgm:pt>
    <dgm:pt modelId="{ABEE3C24-C102-48EE-96D9-D5E2737C2C71}" type="pres">
      <dgm:prSet presAssocID="{96924DC9-034A-456F-AA80-6E83A8B297DE}" presName="vertThree" presStyleCnt="0"/>
      <dgm:spPr/>
    </dgm:pt>
    <dgm:pt modelId="{DE4C88A0-C1D8-4494-AC31-6F26EA46FA27}" type="pres">
      <dgm:prSet presAssocID="{96924DC9-034A-456F-AA80-6E83A8B297DE}" presName="txThree" presStyleLbl="node3" presStyleIdx="1" presStyleCnt="3" custLinFactNeighborX="13694" custLinFactNeighborY="144">
        <dgm:presLayoutVars>
          <dgm:chPref val="3"/>
        </dgm:presLayoutVars>
      </dgm:prSet>
      <dgm:spPr/>
    </dgm:pt>
    <dgm:pt modelId="{FC4EAAD6-57A6-401C-B4F9-395C8A7E52A1}" type="pres">
      <dgm:prSet presAssocID="{96924DC9-034A-456F-AA80-6E83A8B297DE}" presName="horzThree" presStyleCnt="0"/>
      <dgm:spPr/>
    </dgm:pt>
    <dgm:pt modelId="{97E6A785-C378-4DA7-A423-BF28A0C1A105}" type="pres">
      <dgm:prSet presAssocID="{50BE3681-437A-4746-8946-592FCBDFB3D8}" presName="sibSpaceTwo" presStyleCnt="0"/>
      <dgm:spPr/>
    </dgm:pt>
    <dgm:pt modelId="{8F0E7E0F-C30B-4378-8806-732AB991749C}" type="pres">
      <dgm:prSet presAssocID="{6278FAA1-06C9-4C2C-9D7D-EA172B24FB17}" presName="vertTwo" presStyleCnt="0"/>
      <dgm:spPr/>
    </dgm:pt>
    <dgm:pt modelId="{2AA55E07-20DC-4E6C-8AE9-C77CF320A16F}" type="pres">
      <dgm:prSet presAssocID="{6278FAA1-06C9-4C2C-9D7D-EA172B24FB17}" presName="txTwo" presStyleLbl="node2" presStyleIdx="1" presStyleCnt="2" custScaleX="127997">
        <dgm:presLayoutVars>
          <dgm:chPref val="3"/>
        </dgm:presLayoutVars>
      </dgm:prSet>
      <dgm:spPr/>
    </dgm:pt>
    <dgm:pt modelId="{82162671-8236-439F-B675-123BEB3DCD40}" type="pres">
      <dgm:prSet presAssocID="{6278FAA1-06C9-4C2C-9D7D-EA172B24FB17}" presName="parTransTwo" presStyleCnt="0"/>
      <dgm:spPr/>
    </dgm:pt>
    <dgm:pt modelId="{205EB2BF-C87D-462D-A5A8-BDDE4157EB98}" type="pres">
      <dgm:prSet presAssocID="{6278FAA1-06C9-4C2C-9D7D-EA172B24FB17}" presName="horzTwo" presStyleCnt="0"/>
      <dgm:spPr/>
    </dgm:pt>
    <dgm:pt modelId="{CEC68A0F-73F7-414E-99DD-F629FD51B415}" type="pres">
      <dgm:prSet presAssocID="{31F29420-4C9D-4986-B856-6F671276124F}" presName="vertThree" presStyleCnt="0"/>
      <dgm:spPr/>
    </dgm:pt>
    <dgm:pt modelId="{D3EA379A-6EDD-419C-B394-53BD4D02F231}" type="pres">
      <dgm:prSet presAssocID="{31F29420-4C9D-4986-B856-6F671276124F}" presName="txThree" presStyleLbl="node3" presStyleIdx="2" presStyleCnt="3">
        <dgm:presLayoutVars>
          <dgm:chPref val="3"/>
        </dgm:presLayoutVars>
      </dgm:prSet>
      <dgm:spPr/>
    </dgm:pt>
    <dgm:pt modelId="{6557FB73-8E27-4CC8-BDF8-0BB20738309B}" type="pres">
      <dgm:prSet presAssocID="{31F29420-4C9D-4986-B856-6F671276124F}" presName="horzThree" presStyleCnt="0"/>
      <dgm:spPr/>
    </dgm:pt>
  </dgm:ptLst>
  <dgm:cxnLst>
    <dgm:cxn modelId="{B7F2E41F-7442-49AB-B23B-82A259BD9B31}" srcId="{B8D93125-D929-4653-8669-2373ACB7FC0A}" destId="{279EB6C2-5EFF-469D-968B-9B60786F4CF5}" srcOrd="0" destOrd="0" parTransId="{5749BAD1-A658-4D82-B466-99D2E59BD047}" sibTransId="{50BE3681-437A-4746-8946-592FCBDFB3D8}"/>
    <dgm:cxn modelId="{22DD1226-02B7-4027-A16D-C67FE4646CE1}" type="presOf" srcId="{E611C942-1A4F-4534-8BDE-4D0D6A171D27}" destId="{53E11357-80D2-4FCB-926F-6F0925515DD9}" srcOrd="0" destOrd="0" presId="urn:microsoft.com/office/officeart/2005/8/layout/hierarchy4"/>
    <dgm:cxn modelId="{3D9E246A-EEFD-4D51-AC84-3360F0A8E00B}" srcId="{279EB6C2-5EFF-469D-968B-9B60786F4CF5}" destId="{96924DC9-034A-456F-AA80-6E83A8B297DE}" srcOrd="1" destOrd="0" parTransId="{E1BC20A0-7735-4C7A-9356-40544DF5E8A9}" sibTransId="{0551EA77-8AE9-421A-8822-9245A0F4C271}"/>
    <dgm:cxn modelId="{0C54F26B-FBF3-4440-8212-5C5FA3DBA844}" type="presOf" srcId="{96924DC9-034A-456F-AA80-6E83A8B297DE}" destId="{DE4C88A0-C1D8-4494-AC31-6F26EA46FA27}" srcOrd="0" destOrd="0" presId="urn:microsoft.com/office/officeart/2005/8/layout/hierarchy4"/>
    <dgm:cxn modelId="{94187D6C-1131-4D3F-9A63-D3D6F6C3E75B}" srcId="{6278FAA1-06C9-4C2C-9D7D-EA172B24FB17}" destId="{31F29420-4C9D-4986-B856-6F671276124F}" srcOrd="0" destOrd="0" parTransId="{594D1B17-D203-492D-9C6F-C6B263B47C40}" sibTransId="{FB27D058-9209-4BCB-9245-E946A0AE7689}"/>
    <dgm:cxn modelId="{9BB75C53-65CE-4518-9030-DB6CD50C8F4D}" type="presOf" srcId="{6278FAA1-06C9-4C2C-9D7D-EA172B24FB17}" destId="{2AA55E07-20DC-4E6C-8AE9-C77CF320A16F}" srcOrd="0" destOrd="0" presId="urn:microsoft.com/office/officeart/2005/8/layout/hierarchy4"/>
    <dgm:cxn modelId="{79B28F58-26FF-4984-A6D4-D760023417C9}" type="presOf" srcId="{BC84B847-E8F8-4DEE-8595-2394C7D637AA}" destId="{23156FED-2A08-4791-A3BE-5466D75F598E}" srcOrd="0" destOrd="0" presId="urn:microsoft.com/office/officeart/2005/8/layout/hierarchy4"/>
    <dgm:cxn modelId="{41D13089-3FED-4870-B7F5-E5958C2F6638}" srcId="{E611C942-1A4F-4534-8BDE-4D0D6A171D27}" destId="{B8D93125-D929-4653-8669-2373ACB7FC0A}" srcOrd="0" destOrd="0" parTransId="{A77B87F2-A5BF-458C-94A6-C1D698EFB899}" sibTransId="{0AE38954-9EAE-4D70-8723-CF1D424DB952}"/>
    <dgm:cxn modelId="{BF7C8893-0D52-44F7-9B5A-0C5A828764BB}" srcId="{B8D93125-D929-4653-8669-2373ACB7FC0A}" destId="{6278FAA1-06C9-4C2C-9D7D-EA172B24FB17}" srcOrd="1" destOrd="0" parTransId="{A54D6969-9C9D-45B9-9203-C2F1DFA3FFEC}" sibTransId="{C54EBC6C-5030-4992-9108-9FD23F11A45B}"/>
    <dgm:cxn modelId="{C7348AC2-EAC2-4C2B-8304-4D69532AD90C}" srcId="{279EB6C2-5EFF-469D-968B-9B60786F4CF5}" destId="{BC84B847-E8F8-4DEE-8595-2394C7D637AA}" srcOrd="0" destOrd="0" parTransId="{BE49D4ED-56EC-4F2B-9CDF-98E75A85E6D4}" sibTransId="{3D1D40FA-7890-439D-B786-B669B26A7AA1}"/>
    <dgm:cxn modelId="{DBC38BCA-6143-4A92-80FC-79BFF2440C24}" type="presOf" srcId="{B8D93125-D929-4653-8669-2373ACB7FC0A}" destId="{D023AF9C-761B-4EF7-9230-FC9DD6CC7E3D}" srcOrd="0" destOrd="0" presId="urn:microsoft.com/office/officeart/2005/8/layout/hierarchy4"/>
    <dgm:cxn modelId="{011201D0-8E32-439D-A95C-0CCDD5EFBA6C}" type="presOf" srcId="{279EB6C2-5EFF-469D-968B-9B60786F4CF5}" destId="{617DDB8F-3CAD-4A1C-9DDA-6653E5D6936B}" srcOrd="0" destOrd="0" presId="urn:microsoft.com/office/officeart/2005/8/layout/hierarchy4"/>
    <dgm:cxn modelId="{8C5D35F7-25BA-4543-BD6F-9BF3EC008229}" type="presOf" srcId="{31F29420-4C9D-4986-B856-6F671276124F}" destId="{D3EA379A-6EDD-419C-B394-53BD4D02F231}" srcOrd="0" destOrd="0" presId="urn:microsoft.com/office/officeart/2005/8/layout/hierarchy4"/>
    <dgm:cxn modelId="{3B8D4CD9-7317-4D7A-A2D3-5F5B59F67FAD}" type="presParOf" srcId="{53E11357-80D2-4FCB-926F-6F0925515DD9}" destId="{7F637236-93D9-468E-A3AF-1E97F5B98F55}" srcOrd="0" destOrd="0" presId="urn:microsoft.com/office/officeart/2005/8/layout/hierarchy4"/>
    <dgm:cxn modelId="{557821AC-7B09-4F22-A3CF-7CC2674B5931}" type="presParOf" srcId="{7F637236-93D9-468E-A3AF-1E97F5B98F55}" destId="{D023AF9C-761B-4EF7-9230-FC9DD6CC7E3D}" srcOrd="0" destOrd="0" presId="urn:microsoft.com/office/officeart/2005/8/layout/hierarchy4"/>
    <dgm:cxn modelId="{24A6C56A-F818-4987-BD51-41AE16F2E10C}" type="presParOf" srcId="{7F637236-93D9-468E-A3AF-1E97F5B98F55}" destId="{0F093DD3-1B53-44C4-A394-2FDED42E7F2B}" srcOrd="1" destOrd="0" presId="urn:microsoft.com/office/officeart/2005/8/layout/hierarchy4"/>
    <dgm:cxn modelId="{E63827A5-E8BB-4217-989D-533115F9513F}" type="presParOf" srcId="{7F637236-93D9-468E-A3AF-1E97F5B98F55}" destId="{28FF0811-A9DB-47C4-B8F3-AA12377C74D1}" srcOrd="2" destOrd="0" presId="urn:microsoft.com/office/officeart/2005/8/layout/hierarchy4"/>
    <dgm:cxn modelId="{536E352B-CA58-480F-B740-C4025361A9EF}" type="presParOf" srcId="{28FF0811-A9DB-47C4-B8F3-AA12377C74D1}" destId="{8B1FC7C5-585F-4925-A4B1-37A3999F0FAD}" srcOrd="0" destOrd="0" presId="urn:microsoft.com/office/officeart/2005/8/layout/hierarchy4"/>
    <dgm:cxn modelId="{B473D761-87FB-4B58-934A-4E8E59427A6E}" type="presParOf" srcId="{8B1FC7C5-585F-4925-A4B1-37A3999F0FAD}" destId="{617DDB8F-3CAD-4A1C-9DDA-6653E5D6936B}" srcOrd="0" destOrd="0" presId="urn:microsoft.com/office/officeart/2005/8/layout/hierarchy4"/>
    <dgm:cxn modelId="{723CCD36-BE4E-4E98-8C3B-7A5112C74AC8}" type="presParOf" srcId="{8B1FC7C5-585F-4925-A4B1-37A3999F0FAD}" destId="{1AC31A65-C843-4AD3-8754-22755E251D85}" srcOrd="1" destOrd="0" presId="urn:microsoft.com/office/officeart/2005/8/layout/hierarchy4"/>
    <dgm:cxn modelId="{2602A095-1C23-48AD-A4C0-4FECFB1242D5}" type="presParOf" srcId="{8B1FC7C5-585F-4925-A4B1-37A3999F0FAD}" destId="{C0CF74E1-77C1-4D85-A547-077ADA28477B}" srcOrd="2" destOrd="0" presId="urn:microsoft.com/office/officeart/2005/8/layout/hierarchy4"/>
    <dgm:cxn modelId="{36B2D64A-920E-4087-92CE-C161D9283FA7}" type="presParOf" srcId="{C0CF74E1-77C1-4D85-A547-077ADA28477B}" destId="{9CFF0631-EC22-424D-B173-E29CA2EC8C6E}" srcOrd="0" destOrd="0" presId="urn:microsoft.com/office/officeart/2005/8/layout/hierarchy4"/>
    <dgm:cxn modelId="{5F412AF0-52D2-40C6-A2A4-416822566E36}" type="presParOf" srcId="{9CFF0631-EC22-424D-B173-E29CA2EC8C6E}" destId="{23156FED-2A08-4791-A3BE-5466D75F598E}" srcOrd="0" destOrd="0" presId="urn:microsoft.com/office/officeart/2005/8/layout/hierarchy4"/>
    <dgm:cxn modelId="{38B3B0EF-36A5-420D-95B5-2A9588061A40}" type="presParOf" srcId="{9CFF0631-EC22-424D-B173-E29CA2EC8C6E}" destId="{4C4A1859-B3A1-453A-AD43-CFF10AD1684A}" srcOrd="1" destOrd="0" presId="urn:microsoft.com/office/officeart/2005/8/layout/hierarchy4"/>
    <dgm:cxn modelId="{E58AB1EC-434A-428A-82CE-A52E78E81511}" type="presParOf" srcId="{C0CF74E1-77C1-4D85-A547-077ADA28477B}" destId="{F77F3F85-F1FF-4AE8-BF8B-65D089189AAD}" srcOrd="1" destOrd="0" presId="urn:microsoft.com/office/officeart/2005/8/layout/hierarchy4"/>
    <dgm:cxn modelId="{8C27EB0C-A92E-49D0-B8B5-D2FC04134AED}" type="presParOf" srcId="{C0CF74E1-77C1-4D85-A547-077ADA28477B}" destId="{ABEE3C24-C102-48EE-96D9-D5E2737C2C71}" srcOrd="2" destOrd="0" presId="urn:microsoft.com/office/officeart/2005/8/layout/hierarchy4"/>
    <dgm:cxn modelId="{82EED3FE-FCB3-4EEF-987A-39D931DFCB82}" type="presParOf" srcId="{ABEE3C24-C102-48EE-96D9-D5E2737C2C71}" destId="{DE4C88A0-C1D8-4494-AC31-6F26EA46FA27}" srcOrd="0" destOrd="0" presId="urn:microsoft.com/office/officeart/2005/8/layout/hierarchy4"/>
    <dgm:cxn modelId="{77294178-C07B-48C1-B449-A9451C09DCC4}" type="presParOf" srcId="{ABEE3C24-C102-48EE-96D9-D5E2737C2C71}" destId="{FC4EAAD6-57A6-401C-B4F9-395C8A7E52A1}" srcOrd="1" destOrd="0" presId="urn:microsoft.com/office/officeart/2005/8/layout/hierarchy4"/>
    <dgm:cxn modelId="{4B6856D3-8A51-42CE-B128-57BBE2345186}" type="presParOf" srcId="{28FF0811-A9DB-47C4-B8F3-AA12377C74D1}" destId="{97E6A785-C378-4DA7-A423-BF28A0C1A105}" srcOrd="1" destOrd="0" presId="urn:microsoft.com/office/officeart/2005/8/layout/hierarchy4"/>
    <dgm:cxn modelId="{94F01D7E-3FA6-4D35-97FC-CA6B2C0E8F2C}" type="presParOf" srcId="{28FF0811-A9DB-47C4-B8F3-AA12377C74D1}" destId="{8F0E7E0F-C30B-4378-8806-732AB991749C}" srcOrd="2" destOrd="0" presId="urn:microsoft.com/office/officeart/2005/8/layout/hierarchy4"/>
    <dgm:cxn modelId="{8A6D83AF-9AB8-405B-A27C-2A15CE7EA12B}" type="presParOf" srcId="{8F0E7E0F-C30B-4378-8806-732AB991749C}" destId="{2AA55E07-20DC-4E6C-8AE9-C77CF320A16F}" srcOrd="0" destOrd="0" presId="urn:microsoft.com/office/officeart/2005/8/layout/hierarchy4"/>
    <dgm:cxn modelId="{9DF718CA-8221-494A-AE1A-F5DB66E1EA1E}" type="presParOf" srcId="{8F0E7E0F-C30B-4378-8806-732AB991749C}" destId="{82162671-8236-439F-B675-123BEB3DCD40}" srcOrd="1" destOrd="0" presId="urn:microsoft.com/office/officeart/2005/8/layout/hierarchy4"/>
    <dgm:cxn modelId="{31D75C73-09BE-4EB7-A0F7-AEB115F37236}" type="presParOf" srcId="{8F0E7E0F-C30B-4378-8806-732AB991749C}" destId="{205EB2BF-C87D-462D-A5A8-BDDE4157EB98}" srcOrd="2" destOrd="0" presId="urn:microsoft.com/office/officeart/2005/8/layout/hierarchy4"/>
    <dgm:cxn modelId="{B06A76B4-FFAF-4472-96FF-34C9589D3ABD}" type="presParOf" srcId="{205EB2BF-C87D-462D-A5A8-BDDE4157EB98}" destId="{CEC68A0F-73F7-414E-99DD-F629FD51B415}" srcOrd="0" destOrd="0" presId="urn:microsoft.com/office/officeart/2005/8/layout/hierarchy4"/>
    <dgm:cxn modelId="{E7083B98-CD1F-473F-A74A-BD7737EED4FB}" type="presParOf" srcId="{CEC68A0F-73F7-414E-99DD-F629FD51B415}" destId="{D3EA379A-6EDD-419C-B394-53BD4D02F231}" srcOrd="0" destOrd="0" presId="urn:microsoft.com/office/officeart/2005/8/layout/hierarchy4"/>
    <dgm:cxn modelId="{8E849D11-434B-444B-A7BB-4153F7240B0A}" type="presParOf" srcId="{CEC68A0F-73F7-414E-99DD-F629FD51B415}" destId="{6557FB73-8E27-4CC8-BDF8-0BB20738309B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812896C-33AD-4A64-9C7E-2EA554499285}" type="doc">
      <dgm:prSet loTypeId="urn:microsoft.com/office/officeart/2009/3/layout/StepUp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E3F5C4B4-D0C4-45F7-AE2F-65EBC6F10168}">
      <dgm:prSet phldrT="[Texto]"/>
      <dgm:spPr/>
      <dgm:t>
        <a:bodyPr/>
        <a:lstStyle/>
        <a:p>
          <a:pPr algn="ctr"/>
          <a:r>
            <a:rPr lang="pt-BR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Visita a mais de 40 Políticas de Ordenamento e Uso do Território nacionais</a:t>
          </a:r>
        </a:p>
      </dgm:t>
    </dgm:pt>
    <dgm:pt modelId="{CA3BAAC3-84C7-4B40-A2D6-EE73357AA0CC}" type="parTrans" cxnId="{29743408-86E4-4817-87DB-23D711806A76}">
      <dgm:prSet/>
      <dgm:spPr/>
      <dgm:t>
        <a:bodyPr/>
        <a:lstStyle/>
        <a:p>
          <a:endParaRPr lang="pt-BR"/>
        </a:p>
      </dgm:t>
    </dgm:pt>
    <dgm:pt modelId="{54105EC8-57A9-4F24-BED8-764B11DB72A8}" type="sibTrans" cxnId="{29743408-86E4-4817-87DB-23D711806A76}">
      <dgm:prSet/>
      <dgm:spPr/>
      <dgm:t>
        <a:bodyPr/>
        <a:lstStyle/>
        <a:p>
          <a:endParaRPr lang="pt-BR"/>
        </a:p>
      </dgm:t>
    </dgm:pt>
    <dgm:pt modelId="{309D38E3-2456-4B43-BE1A-B7CA3CB645E2}">
      <dgm:prSet phldrT="[Texto]"/>
      <dgm:spPr/>
      <dgm:t>
        <a:bodyPr/>
        <a:lstStyle/>
        <a:p>
          <a:r>
            <a:rPr lang="pt-BR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União Europeia</a:t>
          </a:r>
        </a:p>
        <a:p>
          <a:r>
            <a:rPr lang="pt-BR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França</a:t>
          </a:r>
        </a:p>
        <a:p>
          <a:r>
            <a:rPr lang="pt-BR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Portugal</a:t>
          </a:r>
        </a:p>
        <a:p>
          <a:r>
            <a:rPr lang="pt-BR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Colômbia</a:t>
          </a:r>
        </a:p>
        <a:p>
          <a:r>
            <a:rPr lang="pt-BR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Costa Rica</a:t>
          </a:r>
        </a:p>
      </dgm:t>
    </dgm:pt>
    <dgm:pt modelId="{FCE68E67-711D-4AEB-BC14-3ABEFED03DE4}" type="parTrans" cxnId="{9CB57591-1433-4C74-8A89-6E60C0D8C5D5}">
      <dgm:prSet/>
      <dgm:spPr/>
      <dgm:t>
        <a:bodyPr/>
        <a:lstStyle/>
        <a:p>
          <a:endParaRPr lang="pt-BR"/>
        </a:p>
      </dgm:t>
    </dgm:pt>
    <dgm:pt modelId="{7BB08DDA-C1AF-4553-8DD7-878958765F4B}" type="sibTrans" cxnId="{9CB57591-1433-4C74-8A89-6E60C0D8C5D5}">
      <dgm:prSet/>
      <dgm:spPr/>
      <dgm:t>
        <a:bodyPr/>
        <a:lstStyle/>
        <a:p>
          <a:endParaRPr lang="pt-BR"/>
        </a:p>
      </dgm:t>
    </dgm:pt>
    <dgm:pt modelId="{A73EF905-33BA-4E7B-BF8E-C8F1F8D879E3}">
      <dgm:prSet phldrT="[Texto]"/>
      <dgm:spPr/>
      <dgm:t>
        <a:bodyPr/>
        <a:lstStyle/>
        <a:p>
          <a:r>
            <a:rPr lang="pt-BR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Estudos PNOT:</a:t>
          </a:r>
        </a:p>
        <a:p>
          <a:r>
            <a:rPr lang="pt-BR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2007</a:t>
          </a:r>
        </a:p>
        <a:p>
          <a:r>
            <a:rPr lang="pt-BR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2020</a:t>
          </a:r>
        </a:p>
        <a:p>
          <a:r>
            <a:rPr lang="pt-BR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2023 </a:t>
          </a:r>
        </a:p>
      </dgm:t>
    </dgm:pt>
    <dgm:pt modelId="{71F3B4AB-12FB-48DA-AF69-57AA27C28EED}" type="parTrans" cxnId="{AE2DB5C1-1BF7-40CC-858F-A246403686EC}">
      <dgm:prSet/>
      <dgm:spPr/>
      <dgm:t>
        <a:bodyPr/>
        <a:lstStyle/>
        <a:p>
          <a:endParaRPr lang="pt-BR"/>
        </a:p>
      </dgm:t>
    </dgm:pt>
    <dgm:pt modelId="{5FE6EFCE-58A6-4420-9C53-BBE5731F2B72}" type="sibTrans" cxnId="{AE2DB5C1-1BF7-40CC-858F-A246403686EC}">
      <dgm:prSet/>
      <dgm:spPr/>
      <dgm:t>
        <a:bodyPr/>
        <a:lstStyle/>
        <a:p>
          <a:endParaRPr lang="pt-BR"/>
        </a:p>
      </dgm:t>
    </dgm:pt>
    <dgm:pt modelId="{0D338CC6-9D43-4606-9B5F-9B250A2FD978}" type="pres">
      <dgm:prSet presAssocID="{3812896C-33AD-4A64-9C7E-2EA554499285}" presName="rootnode" presStyleCnt="0">
        <dgm:presLayoutVars>
          <dgm:chMax/>
          <dgm:chPref/>
          <dgm:dir/>
          <dgm:animLvl val="lvl"/>
        </dgm:presLayoutVars>
      </dgm:prSet>
      <dgm:spPr/>
    </dgm:pt>
    <dgm:pt modelId="{E7495082-8CB9-47E1-A253-D3CFFC6E9ED6}" type="pres">
      <dgm:prSet presAssocID="{E3F5C4B4-D0C4-45F7-AE2F-65EBC6F10168}" presName="composite" presStyleCnt="0"/>
      <dgm:spPr/>
    </dgm:pt>
    <dgm:pt modelId="{52A16229-E5E0-40BD-8CD1-5DFA1B055589}" type="pres">
      <dgm:prSet presAssocID="{E3F5C4B4-D0C4-45F7-AE2F-65EBC6F10168}" presName="LShape" presStyleLbl="alignNode1" presStyleIdx="0" presStyleCnt="5"/>
      <dgm:spPr>
        <a:solidFill>
          <a:schemeClr val="accent1">
            <a:lumMod val="75000"/>
          </a:schemeClr>
        </a:solidFill>
      </dgm:spPr>
    </dgm:pt>
    <dgm:pt modelId="{09E14491-20C1-4709-B98D-FD65A70373A4}" type="pres">
      <dgm:prSet presAssocID="{E3F5C4B4-D0C4-45F7-AE2F-65EBC6F10168}" presName="ParentText" presStyleLbl="revTx" presStyleIdx="0" presStyleCnt="3" custScaleX="113020" custLinFactNeighborX="8755" custLinFactNeighborY="324">
        <dgm:presLayoutVars>
          <dgm:chMax val="0"/>
          <dgm:chPref val="0"/>
          <dgm:bulletEnabled val="1"/>
        </dgm:presLayoutVars>
      </dgm:prSet>
      <dgm:spPr/>
    </dgm:pt>
    <dgm:pt modelId="{5DD6546E-E086-4DF4-AC8F-3CA0C05F5DF1}" type="pres">
      <dgm:prSet presAssocID="{E3F5C4B4-D0C4-45F7-AE2F-65EBC6F10168}" presName="Triangle" presStyleLbl="alignNode1" presStyleIdx="1" presStyleCnt="5"/>
      <dgm:spPr>
        <a:solidFill>
          <a:schemeClr val="accent1">
            <a:lumMod val="75000"/>
          </a:schemeClr>
        </a:solidFill>
      </dgm:spPr>
    </dgm:pt>
    <dgm:pt modelId="{0668F4E2-88FF-414F-AD54-60A0E90B8807}" type="pres">
      <dgm:prSet presAssocID="{54105EC8-57A9-4F24-BED8-764B11DB72A8}" presName="sibTrans" presStyleCnt="0"/>
      <dgm:spPr/>
    </dgm:pt>
    <dgm:pt modelId="{7B8CD731-9D3D-4510-A66A-E9D7DD583F30}" type="pres">
      <dgm:prSet presAssocID="{54105EC8-57A9-4F24-BED8-764B11DB72A8}" presName="space" presStyleCnt="0"/>
      <dgm:spPr/>
    </dgm:pt>
    <dgm:pt modelId="{CF198B8D-17F8-4E28-AB7B-EB76685A8947}" type="pres">
      <dgm:prSet presAssocID="{309D38E3-2456-4B43-BE1A-B7CA3CB645E2}" presName="composite" presStyleCnt="0"/>
      <dgm:spPr/>
    </dgm:pt>
    <dgm:pt modelId="{2F979116-9542-4D0E-BF90-E640AE2D215B}" type="pres">
      <dgm:prSet presAssocID="{309D38E3-2456-4B43-BE1A-B7CA3CB645E2}" presName="LShape" presStyleLbl="alignNode1" presStyleIdx="2" presStyleCnt="5"/>
      <dgm:spPr>
        <a:solidFill>
          <a:schemeClr val="accent1">
            <a:lumMod val="75000"/>
          </a:schemeClr>
        </a:solidFill>
      </dgm:spPr>
    </dgm:pt>
    <dgm:pt modelId="{E486A128-00A6-4415-965E-56F0DAD1F149}" type="pres">
      <dgm:prSet presAssocID="{309D38E3-2456-4B43-BE1A-B7CA3CB645E2}" presName="ParentText" presStyleLbl="revTx" presStyleIdx="1" presStyleCnt="3" custScaleX="109982" custLinFactNeighborX="4883" custLinFactNeighborY="-524">
        <dgm:presLayoutVars>
          <dgm:chMax val="0"/>
          <dgm:chPref val="0"/>
          <dgm:bulletEnabled val="1"/>
        </dgm:presLayoutVars>
      </dgm:prSet>
      <dgm:spPr/>
    </dgm:pt>
    <dgm:pt modelId="{0D0A99C3-1F44-459B-87D1-8BAE3849AE21}" type="pres">
      <dgm:prSet presAssocID="{309D38E3-2456-4B43-BE1A-B7CA3CB645E2}" presName="Triangle" presStyleLbl="alignNode1" presStyleIdx="3" presStyleCnt="5"/>
      <dgm:spPr>
        <a:solidFill>
          <a:schemeClr val="accent1">
            <a:lumMod val="75000"/>
          </a:schemeClr>
        </a:solidFill>
      </dgm:spPr>
    </dgm:pt>
    <dgm:pt modelId="{383F8A91-FEE6-4131-BF33-022D9A7549BB}" type="pres">
      <dgm:prSet presAssocID="{7BB08DDA-C1AF-4553-8DD7-878958765F4B}" presName="sibTrans" presStyleCnt="0"/>
      <dgm:spPr/>
    </dgm:pt>
    <dgm:pt modelId="{378E51CE-C947-4E05-AD44-31CC70CA26C4}" type="pres">
      <dgm:prSet presAssocID="{7BB08DDA-C1AF-4553-8DD7-878958765F4B}" presName="space" presStyleCnt="0"/>
      <dgm:spPr/>
    </dgm:pt>
    <dgm:pt modelId="{12A3447A-B527-44D7-B02F-561C6ED5D293}" type="pres">
      <dgm:prSet presAssocID="{A73EF905-33BA-4E7B-BF8E-C8F1F8D879E3}" presName="composite" presStyleCnt="0"/>
      <dgm:spPr/>
    </dgm:pt>
    <dgm:pt modelId="{94962353-663F-49E9-9C23-7C40EBF9CAD9}" type="pres">
      <dgm:prSet presAssocID="{A73EF905-33BA-4E7B-BF8E-C8F1F8D879E3}" presName="LShape" presStyleLbl="alignNode1" presStyleIdx="4" presStyleCnt="5"/>
      <dgm:spPr>
        <a:solidFill>
          <a:schemeClr val="accent1">
            <a:lumMod val="75000"/>
          </a:schemeClr>
        </a:solidFill>
      </dgm:spPr>
    </dgm:pt>
    <dgm:pt modelId="{BF25B4B2-3F9F-48ED-A049-5A5E29EE3252}" type="pres">
      <dgm:prSet presAssocID="{A73EF905-33BA-4E7B-BF8E-C8F1F8D879E3}" presName="ParentText" presStyleLbl="revTx" presStyleIdx="2" presStyleCnt="3" custScaleX="114848" custLinFactNeighborX="9458" custLinFactNeighborY="1159">
        <dgm:presLayoutVars>
          <dgm:chMax val="0"/>
          <dgm:chPref val="0"/>
          <dgm:bulletEnabled val="1"/>
        </dgm:presLayoutVars>
      </dgm:prSet>
      <dgm:spPr/>
    </dgm:pt>
  </dgm:ptLst>
  <dgm:cxnLst>
    <dgm:cxn modelId="{29743408-86E4-4817-87DB-23D711806A76}" srcId="{3812896C-33AD-4A64-9C7E-2EA554499285}" destId="{E3F5C4B4-D0C4-45F7-AE2F-65EBC6F10168}" srcOrd="0" destOrd="0" parTransId="{CA3BAAC3-84C7-4B40-A2D6-EE73357AA0CC}" sibTransId="{54105EC8-57A9-4F24-BED8-764B11DB72A8}"/>
    <dgm:cxn modelId="{76B3EB31-51C0-4DEB-B74E-677CABCCC40B}" type="presOf" srcId="{3812896C-33AD-4A64-9C7E-2EA554499285}" destId="{0D338CC6-9D43-4606-9B5F-9B250A2FD978}" srcOrd="0" destOrd="0" presId="urn:microsoft.com/office/officeart/2009/3/layout/StepUpProcess"/>
    <dgm:cxn modelId="{357B2C61-3FAE-461D-A15C-4CE9957B028C}" type="presOf" srcId="{E3F5C4B4-D0C4-45F7-AE2F-65EBC6F10168}" destId="{09E14491-20C1-4709-B98D-FD65A70373A4}" srcOrd="0" destOrd="0" presId="urn:microsoft.com/office/officeart/2009/3/layout/StepUpProcess"/>
    <dgm:cxn modelId="{9CB57591-1433-4C74-8A89-6E60C0D8C5D5}" srcId="{3812896C-33AD-4A64-9C7E-2EA554499285}" destId="{309D38E3-2456-4B43-BE1A-B7CA3CB645E2}" srcOrd="1" destOrd="0" parTransId="{FCE68E67-711D-4AEB-BC14-3ABEFED03DE4}" sibTransId="{7BB08DDA-C1AF-4553-8DD7-878958765F4B}"/>
    <dgm:cxn modelId="{AE2DB5C1-1BF7-40CC-858F-A246403686EC}" srcId="{3812896C-33AD-4A64-9C7E-2EA554499285}" destId="{A73EF905-33BA-4E7B-BF8E-C8F1F8D879E3}" srcOrd="2" destOrd="0" parTransId="{71F3B4AB-12FB-48DA-AF69-57AA27C28EED}" sibTransId="{5FE6EFCE-58A6-4420-9C53-BBE5731F2B72}"/>
    <dgm:cxn modelId="{87ED5DC5-8E70-48F3-B75A-3C3266FC2649}" type="presOf" srcId="{A73EF905-33BA-4E7B-BF8E-C8F1F8D879E3}" destId="{BF25B4B2-3F9F-48ED-A049-5A5E29EE3252}" srcOrd="0" destOrd="0" presId="urn:microsoft.com/office/officeart/2009/3/layout/StepUpProcess"/>
    <dgm:cxn modelId="{8E42F5E5-6214-44A2-BFEA-3325D4F831A9}" type="presOf" srcId="{309D38E3-2456-4B43-BE1A-B7CA3CB645E2}" destId="{E486A128-00A6-4415-965E-56F0DAD1F149}" srcOrd="0" destOrd="0" presId="urn:microsoft.com/office/officeart/2009/3/layout/StepUpProcess"/>
    <dgm:cxn modelId="{0979593C-5C7A-48E0-B630-8DACF2BE55EC}" type="presParOf" srcId="{0D338CC6-9D43-4606-9B5F-9B250A2FD978}" destId="{E7495082-8CB9-47E1-A253-D3CFFC6E9ED6}" srcOrd="0" destOrd="0" presId="urn:microsoft.com/office/officeart/2009/3/layout/StepUpProcess"/>
    <dgm:cxn modelId="{A9B9050A-F117-43D5-8727-6CE6A096DDD2}" type="presParOf" srcId="{E7495082-8CB9-47E1-A253-D3CFFC6E9ED6}" destId="{52A16229-E5E0-40BD-8CD1-5DFA1B055589}" srcOrd="0" destOrd="0" presId="urn:microsoft.com/office/officeart/2009/3/layout/StepUpProcess"/>
    <dgm:cxn modelId="{1B32BB31-8870-4C7D-AB8A-5E4D3B47EBB5}" type="presParOf" srcId="{E7495082-8CB9-47E1-A253-D3CFFC6E9ED6}" destId="{09E14491-20C1-4709-B98D-FD65A70373A4}" srcOrd="1" destOrd="0" presId="urn:microsoft.com/office/officeart/2009/3/layout/StepUpProcess"/>
    <dgm:cxn modelId="{FC037489-0CE2-4F7F-9378-7B58D94892A9}" type="presParOf" srcId="{E7495082-8CB9-47E1-A253-D3CFFC6E9ED6}" destId="{5DD6546E-E086-4DF4-AC8F-3CA0C05F5DF1}" srcOrd="2" destOrd="0" presId="urn:microsoft.com/office/officeart/2009/3/layout/StepUpProcess"/>
    <dgm:cxn modelId="{9408BBFE-FBBD-4B24-9431-CBDE0EBE0BA2}" type="presParOf" srcId="{0D338CC6-9D43-4606-9B5F-9B250A2FD978}" destId="{0668F4E2-88FF-414F-AD54-60A0E90B8807}" srcOrd="1" destOrd="0" presId="urn:microsoft.com/office/officeart/2009/3/layout/StepUpProcess"/>
    <dgm:cxn modelId="{5E52CE29-D4DC-4629-A14C-D5FED2FE0ECF}" type="presParOf" srcId="{0668F4E2-88FF-414F-AD54-60A0E90B8807}" destId="{7B8CD731-9D3D-4510-A66A-E9D7DD583F30}" srcOrd="0" destOrd="0" presId="urn:microsoft.com/office/officeart/2009/3/layout/StepUpProcess"/>
    <dgm:cxn modelId="{7B330A33-5F9E-4CFD-AF51-B8F0EC604433}" type="presParOf" srcId="{0D338CC6-9D43-4606-9B5F-9B250A2FD978}" destId="{CF198B8D-17F8-4E28-AB7B-EB76685A8947}" srcOrd="2" destOrd="0" presId="urn:microsoft.com/office/officeart/2009/3/layout/StepUpProcess"/>
    <dgm:cxn modelId="{17E8DDDD-8ADA-4E28-9599-9CE320CCC0E3}" type="presParOf" srcId="{CF198B8D-17F8-4E28-AB7B-EB76685A8947}" destId="{2F979116-9542-4D0E-BF90-E640AE2D215B}" srcOrd="0" destOrd="0" presId="urn:microsoft.com/office/officeart/2009/3/layout/StepUpProcess"/>
    <dgm:cxn modelId="{94C36069-604C-47D7-B808-18CAF9C43450}" type="presParOf" srcId="{CF198B8D-17F8-4E28-AB7B-EB76685A8947}" destId="{E486A128-00A6-4415-965E-56F0DAD1F149}" srcOrd="1" destOrd="0" presId="urn:microsoft.com/office/officeart/2009/3/layout/StepUpProcess"/>
    <dgm:cxn modelId="{87C915CF-B745-45B1-9A72-F249C228B80E}" type="presParOf" srcId="{CF198B8D-17F8-4E28-AB7B-EB76685A8947}" destId="{0D0A99C3-1F44-459B-87D1-8BAE3849AE21}" srcOrd="2" destOrd="0" presId="urn:microsoft.com/office/officeart/2009/3/layout/StepUpProcess"/>
    <dgm:cxn modelId="{66494D2D-CF52-41C8-8025-5E0B4FE22D8A}" type="presParOf" srcId="{0D338CC6-9D43-4606-9B5F-9B250A2FD978}" destId="{383F8A91-FEE6-4131-BF33-022D9A7549BB}" srcOrd="3" destOrd="0" presId="urn:microsoft.com/office/officeart/2009/3/layout/StepUpProcess"/>
    <dgm:cxn modelId="{18EB190C-605C-43B1-9708-46C5180550EE}" type="presParOf" srcId="{383F8A91-FEE6-4131-BF33-022D9A7549BB}" destId="{378E51CE-C947-4E05-AD44-31CC70CA26C4}" srcOrd="0" destOrd="0" presId="urn:microsoft.com/office/officeart/2009/3/layout/StepUpProcess"/>
    <dgm:cxn modelId="{E2C9137D-F988-4EDB-B6FD-79BB72806131}" type="presParOf" srcId="{0D338CC6-9D43-4606-9B5F-9B250A2FD978}" destId="{12A3447A-B527-44D7-B02F-561C6ED5D293}" srcOrd="4" destOrd="0" presId="urn:microsoft.com/office/officeart/2009/3/layout/StepUpProcess"/>
    <dgm:cxn modelId="{073BDC72-AA0C-4F84-8ED3-B86D362AA022}" type="presParOf" srcId="{12A3447A-B527-44D7-B02F-561C6ED5D293}" destId="{94962353-663F-49E9-9C23-7C40EBF9CAD9}" srcOrd="0" destOrd="0" presId="urn:microsoft.com/office/officeart/2009/3/layout/StepUpProcess"/>
    <dgm:cxn modelId="{EB86185F-55AA-46C3-AF09-2D5324B44400}" type="presParOf" srcId="{12A3447A-B527-44D7-B02F-561C6ED5D293}" destId="{BF25B4B2-3F9F-48ED-A049-5A5E29EE3252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AF238A-AACA-49C3-9783-01EDA0066AB9}">
      <dsp:nvSpPr>
        <dsp:cNvPr id="0" name=""/>
        <dsp:cNvSpPr/>
      </dsp:nvSpPr>
      <dsp:spPr>
        <a:xfrm>
          <a:off x="3035" y="0"/>
          <a:ext cx="2597804" cy="311267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b="1" kern="1200" dirty="0">
              <a:solidFill>
                <a:schemeClr val="accent1">
                  <a:lumMod val="75000"/>
                </a:schemeClr>
              </a:solidFill>
            </a:rPr>
            <a:t>Amplo acervo de conhecimento Produzido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b="1" kern="1200" dirty="0">
              <a:solidFill>
                <a:schemeClr val="accent1">
                  <a:lumMod val="75000"/>
                </a:schemeClr>
              </a:solidFill>
            </a:rPr>
            <a:t>Grupo de Trabalho Interministerial instituído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b="1" kern="1200" dirty="0">
              <a:solidFill>
                <a:schemeClr val="accent1">
                  <a:lumMod val="75000"/>
                </a:schemeClr>
              </a:solidFill>
            </a:rPr>
            <a:t>Debate com a sociedade civil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b="1" kern="1200" dirty="0">
              <a:solidFill>
                <a:schemeClr val="accent1">
                  <a:lumMod val="75000"/>
                </a:schemeClr>
              </a:solidFill>
            </a:rPr>
            <a:t>Projeto de Lei elaborado</a:t>
          </a:r>
        </a:p>
      </dsp:txBody>
      <dsp:txXfrm>
        <a:off x="74666" y="71631"/>
        <a:ext cx="2454542" cy="2302407"/>
      </dsp:txXfrm>
    </dsp:sp>
    <dsp:sp modelId="{8FE41D59-4E0A-42DA-9B7B-FD18648F6D6C}">
      <dsp:nvSpPr>
        <dsp:cNvPr id="0" name=""/>
        <dsp:cNvSpPr/>
      </dsp:nvSpPr>
      <dsp:spPr>
        <a:xfrm>
          <a:off x="1492507" y="810935"/>
          <a:ext cx="2944400" cy="2944400"/>
        </a:xfrm>
        <a:prstGeom prst="leftCircularArrow">
          <a:avLst>
            <a:gd name="adj1" fmla="val 3055"/>
            <a:gd name="adj2" fmla="val 375136"/>
            <a:gd name="adj3" fmla="val 2046496"/>
            <a:gd name="adj4" fmla="val 8920338"/>
            <a:gd name="adj5" fmla="val 3565"/>
          </a:avLst>
        </a:prstGeom>
        <a:solidFill>
          <a:schemeClr val="accent1">
            <a:lumMod val="75000"/>
          </a:schemeClr>
        </a:solidFill>
        <a:ln>
          <a:solidFill>
            <a:schemeClr val="accent1">
              <a:lumMod val="75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2C56F5-8BEE-4BD0-8CBB-409E19D3D75A}">
      <dsp:nvSpPr>
        <dsp:cNvPr id="0" name=""/>
        <dsp:cNvSpPr/>
      </dsp:nvSpPr>
      <dsp:spPr>
        <a:xfrm>
          <a:off x="628300" y="2440067"/>
          <a:ext cx="1827705" cy="726818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b="1" kern="1200" dirty="0">
              <a:latin typeface="Epilogue" panose="020B0604020202020204" charset="0"/>
            </a:rPr>
            <a:t>Fase 1 2003/08</a:t>
          </a:r>
        </a:p>
      </dsp:txBody>
      <dsp:txXfrm>
        <a:off x="649588" y="2461355"/>
        <a:ext cx="1785129" cy="684242"/>
      </dsp:txXfrm>
    </dsp:sp>
    <dsp:sp modelId="{8186CC66-15EF-4444-BA67-288F27271D8C}">
      <dsp:nvSpPr>
        <dsp:cNvPr id="0" name=""/>
        <dsp:cNvSpPr/>
      </dsp:nvSpPr>
      <dsp:spPr>
        <a:xfrm>
          <a:off x="3033497" y="234637"/>
          <a:ext cx="2687823" cy="327437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b="1" kern="1200" dirty="0">
              <a:solidFill>
                <a:schemeClr val="accent1">
                  <a:lumMod val="75000"/>
                </a:schemeClr>
              </a:solidFill>
            </a:rPr>
            <a:t>Textos complementares produzidos (atualização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b="1" kern="1200" dirty="0">
              <a:solidFill>
                <a:schemeClr val="accent1">
                  <a:lumMod val="75000"/>
                </a:schemeClr>
              </a:solidFill>
            </a:rPr>
            <a:t>Não houve debate com a sociedad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b="1" kern="1200" dirty="0">
              <a:solidFill>
                <a:schemeClr val="accent1">
                  <a:lumMod val="75000"/>
                </a:schemeClr>
              </a:solidFill>
            </a:rPr>
            <a:t>Não houve trabalho governamental integrado institucionalizado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b="1" kern="1200" dirty="0">
              <a:solidFill>
                <a:schemeClr val="accent1">
                  <a:lumMod val="75000"/>
                </a:schemeClr>
              </a:solidFill>
            </a:rPr>
            <a:t>Minuta de Decreto elaborada</a:t>
          </a:r>
        </a:p>
      </dsp:txBody>
      <dsp:txXfrm>
        <a:off x="3108849" y="1011641"/>
        <a:ext cx="2537119" cy="2422019"/>
      </dsp:txXfrm>
    </dsp:sp>
    <dsp:sp modelId="{50936C9E-18F8-4055-9C0D-374A6C3058AD}">
      <dsp:nvSpPr>
        <dsp:cNvPr id="0" name=""/>
        <dsp:cNvSpPr/>
      </dsp:nvSpPr>
      <dsp:spPr>
        <a:xfrm>
          <a:off x="3700139" y="-637928"/>
          <a:ext cx="3786778" cy="3786778"/>
        </a:xfrm>
        <a:prstGeom prst="circularArrow">
          <a:avLst>
            <a:gd name="adj1" fmla="val 2376"/>
            <a:gd name="adj2" fmla="val 287098"/>
            <a:gd name="adj3" fmla="val 19652763"/>
            <a:gd name="adj4" fmla="val 12690883"/>
            <a:gd name="adj5" fmla="val 2772"/>
          </a:avLst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47198B-5A66-4D9E-87CD-B937C075207B}">
      <dsp:nvSpPr>
        <dsp:cNvPr id="0" name=""/>
        <dsp:cNvSpPr/>
      </dsp:nvSpPr>
      <dsp:spPr>
        <a:xfrm>
          <a:off x="3005572" y="190294"/>
          <a:ext cx="1827705" cy="726818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b="1" kern="1200" dirty="0">
              <a:latin typeface="Epilogue" panose="020B0604020202020204" charset="0"/>
            </a:rPr>
            <a:t>Fase 2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b="1" kern="1200" dirty="0">
              <a:latin typeface="Epilogue" panose="020B0604020202020204" charset="0"/>
            </a:rPr>
            <a:t>2019/22</a:t>
          </a:r>
        </a:p>
      </dsp:txBody>
      <dsp:txXfrm>
        <a:off x="3026860" y="211582"/>
        <a:ext cx="1785129" cy="684242"/>
      </dsp:txXfrm>
    </dsp:sp>
    <dsp:sp modelId="{0F088751-A7A6-4031-B74D-0B4F40FBBEAD}">
      <dsp:nvSpPr>
        <dsp:cNvPr id="0" name=""/>
        <dsp:cNvSpPr/>
      </dsp:nvSpPr>
      <dsp:spPr>
        <a:xfrm>
          <a:off x="5988909" y="33388"/>
          <a:ext cx="2538298" cy="296426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b="1" kern="1200" dirty="0">
              <a:solidFill>
                <a:schemeClr val="accent1">
                  <a:lumMod val="75000"/>
                </a:schemeClr>
              </a:solidFill>
            </a:rPr>
            <a:t>Grupo de Trabalho Interministerial instituído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b="1" kern="1200" dirty="0">
              <a:solidFill>
                <a:schemeClr val="accent1">
                  <a:lumMod val="75000"/>
                </a:schemeClr>
              </a:solidFill>
            </a:rPr>
            <a:t>Atualização dos estudo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b="1" kern="1200" dirty="0">
              <a:solidFill>
                <a:schemeClr val="accent1">
                  <a:lumMod val="75000"/>
                </a:schemeClr>
              </a:solidFill>
            </a:rPr>
            <a:t>Elaboração de estratégia de participação social/consulta a sociedade e academia</a:t>
          </a:r>
        </a:p>
      </dsp:txBody>
      <dsp:txXfrm>
        <a:off x="6057125" y="101604"/>
        <a:ext cx="2401866" cy="2192630"/>
      </dsp:txXfrm>
    </dsp:sp>
    <dsp:sp modelId="{30EA1299-20CE-4D27-97E2-95CEE8EC64DF}">
      <dsp:nvSpPr>
        <dsp:cNvPr id="0" name=""/>
        <dsp:cNvSpPr/>
      </dsp:nvSpPr>
      <dsp:spPr>
        <a:xfrm>
          <a:off x="5987689" y="2758036"/>
          <a:ext cx="1827705" cy="726818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b="1" kern="1200" dirty="0">
              <a:latin typeface="Epilogue" panose="020B0604020202020204" charset="0"/>
            </a:rPr>
            <a:t>Fase 3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b="1" kern="1200" dirty="0">
              <a:latin typeface="Epilogue" panose="020B0604020202020204" charset="0"/>
            </a:rPr>
            <a:t>2023...</a:t>
          </a:r>
        </a:p>
      </dsp:txBody>
      <dsp:txXfrm>
        <a:off x="6008977" y="2779324"/>
        <a:ext cx="1785129" cy="6842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043214-65A1-479A-9A3B-4CA1A24677C3}">
      <dsp:nvSpPr>
        <dsp:cNvPr id="0" name=""/>
        <dsp:cNvSpPr/>
      </dsp:nvSpPr>
      <dsp:spPr>
        <a:xfrm>
          <a:off x="946" y="1495"/>
          <a:ext cx="3884307" cy="10401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3100" b="1" kern="1200" dirty="0">
              <a:latin typeface="Epilogue" panose="020B0604020202020204" charset="0"/>
            </a:rPr>
            <a:t>Resiliência Territorial</a:t>
          </a:r>
        </a:p>
      </dsp:txBody>
      <dsp:txXfrm>
        <a:off x="31412" y="31961"/>
        <a:ext cx="3823375" cy="979248"/>
      </dsp:txXfrm>
    </dsp:sp>
    <dsp:sp modelId="{E6330E0A-0653-4CA0-AA88-8A15520EB70B}">
      <dsp:nvSpPr>
        <dsp:cNvPr id="0" name=""/>
        <dsp:cNvSpPr/>
      </dsp:nvSpPr>
      <dsp:spPr>
        <a:xfrm>
          <a:off x="297224" y="1111065"/>
          <a:ext cx="1661899" cy="10401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1" kern="1200" dirty="0">
              <a:latin typeface="Epilogue" panose="020B0604020202020204" charset="0"/>
            </a:rPr>
            <a:t>Reconhece as mudanças climáticas como irreversíveis</a:t>
          </a:r>
        </a:p>
      </dsp:txBody>
      <dsp:txXfrm>
        <a:off x="327690" y="1141531"/>
        <a:ext cx="1600967" cy="979248"/>
      </dsp:txXfrm>
    </dsp:sp>
    <dsp:sp modelId="{F76A2657-AF80-4B87-8B58-32B2CDCB0D38}">
      <dsp:nvSpPr>
        <dsp:cNvPr id="0" name=""/>
        <dsp:cNvSpPr/>
      </dsp:nvSpPr>
      <dsp:spPr>
        <a:xfrm>
          <a:off x="181384" y="2222131"/>
          <a:ext cx="1100329" cy="10401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b="1" kern="1200" dirty="0">
              <a:latin typeface="Epilogue" panose="020B0604020202020204" charset="0"/>
            </a:rPr>
            <a:t>Dimensão social</a:t>
          </a:r>
        </a:p>
      </dsp:txBody>
      <dsp:txXfrm>
        <a:off x="211850" y="2252597"/>
        <a:ext cx="1039397" cy="979248"/>
      </dsp:txXfrm>
    </dsp:sp>
    <dsp:sp modelId="{242DF71C-AE76-428E-B30C-A9348ED28281}">
      <dsp:nvSpPr>
        <dsp:cNvPr id="0" name=""/>
        <dsp:cNvSpPr/>
      </dsp:nvSpPr>
      <dsp:spPr>
        <a:xfrm>
          <a:off x="1442230" y="2222131"/>
          <a:ext cx="1100329" cy="10401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b="1" kern="1200" dirty="0">
              <a:latin typeface="Epilogue" panose="020B0604020202020204" charset="0"/>
            </a:rPr>
            <a:t>Dimensão ambiental</a:t>
          </a:r>
        </a:p>
      </dsp:txBody>
      <dsp:txXfrm>
        <a:off x="1472696" y="2252597"/>
        <a:ext cx="1039397" cy="979248"/>
      </dsp:txXfrm>
    </dsp:sp>
    <dsp:sp modelId="{0CA087B6-1F42-4052-BA13-224A3277BDD5}">
      <dsp:nvSpPr>
        <dsp:cNvPr id="0" name=""/>
        <dsp:cNvSpPr/>
      </dsp:nvSpPr>
      <dsp:spPr>
        <a:xfrm>
          <a:off x="2157004" y="1111066"/>
          <a:ext cx="1537424" cy="10401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1" kern="1200" dirty="0">
              <a:latin typeface="Epilogue" panose="020B0604020202020204" charset="0"/>
            </a:rPr>
            <a:t>Perspectiva antecipatória</a:t>
          </a:r>
        </a:p>
      </dsp:txBody>
      <dsp:txXfrm>
        <a:off x="2187470" y="1141532"/>
        <a:ext cx="1476492" cy="979248"/>
      </dsp:txXfrm>
    </dsp:sp>
    <dsp:sp modelId="{385CC011-F67C-4131-B01F-4BDCD48FA041}">
      <dsp:nvSpPr>
        <dsp:cNvPr id="0" name=""/>
        <dsp:cNvSpPr/>
      </dsp:nvSpPr>
      <dsp:spPr>
        <a:xfrm>
          <a:off x="2676887" y="2222131"/>
          <a:ext cx="1100329" cy="10401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b="1" kern="1200" dirty="0">
              <a:latin typeface="Epilogue" panose="020B0604020202020204" charset="0"/>
            </a:rPr>
            <a:t>Dimensão econômica</a:t>
          </a:r>
        </a:p>
      </dsp:txBody>
      <dsp:txXfrm>
        <a:off x="2707353" y="2252597"/>
        <a:ext cx="1039397" cy="97924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23AF9C-761B-4EF7-9230-FC9DD6CC7E3D}">
      <dsp:nvSpPr>
        <dsp:cNvPr id="0" name=""/>
        <dsp:cNvSpPr/>
      </dsp:nvSpPr>
      <dsp:spPr>
        <a:xfrm>
          <a:off x="960" y="1495"/>
          <a:ext cx="3884279" cy="10401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3000" b="1" kern="1200" dirty="0" err="1">
              <a:latin typeface="Epilogue" panose="020B0604020202020204" charset="0"/>
            </a:rPr>
            <a:t>Contratualização</a:t>
          </a:r>
          <a:r>
            <a:rPr lang="pt-BR" sz="3000" b="1" kern="1200" dirty="0">
              <a:latin typeface="Epilogue" panose="020B0604020202020204" charset="0"/>
            </a:rPr>
            <a:t> territorial</a:t>
          </a:r>
        </a:p>
      </dsp:txBody>
      <dsp:txXfrm>
        <a:off x="31426" y="31961"/>
        <a:ext cx="3823347" cy="979248"/>
      </dsp:txXfrm>
    </dsp:sp>
    <dsp:sp modelId="{617DDB8F-3CAD-4A1C-9DDA-6653E5D6936B}">
      <dsp:nvSpPr>
        <dsp:cNvPr id="0" name=""/>
        <dsp:cNvSpPr/>
      </dsp:nvSpPr>
      <dsp:spPr>
        <a:xfrm>
          <a:off x="212141" y="1111065"/>
          <a:ext cx="1909437" cy="10401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b="1" kern="1200" dirty="0">
              <a:latin typeface="Epilogue" panose="020B0604020202020204" charset="0"/>
            </a:rPr>
            <a:t>Aplica-se a arranjos governativos </a:t>
          </a:r>
          <a:r>
            <a:rPr lang="pt-BR" sz="1300" b="1" kern="1200" dirty="0" err="1">
              <a:latin typeface="Epilogue" panose="020B0604020202020204" charset="0"/>
            </a:rPr>
            <a:t>multinível</a:t>
          </a:r>
          <a:endParaRPr lang="pt-BR" sz="1300" b="1" kern="1200" dirty="0">
            <a:latin typeface="Epilogue" panose="020B0604020202020204" charset="0"/>
          </a:endParaRPr>
        </a:p>
      </dsp:txBody>
      <dsp:txXfrm>
        <a:off x="242607" y="1141531"/>
        <a:ext cx="1848505" cy="979248"/>
      </dsp:txXfrm>
    </dsp:sp>
    <dsp:sp modelId="{23156FED-2A08-4791-A3BE-5466D75F598E}">
      <dsp:nvSpPr>
        <dsp:cNvPr id="0" name=""/>
        <dsp:cNvSpPr/>
      </dsp:nvSpPr>
      <dsp:spPr>
        <a:xfrm>
          <a:off x="119050" y="2222131"/>
          <a:ext cx="1138206" cy="10401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b="1" kern="1200" dirty="0">
              <a:latin typeface="Epilogue" panose="020B0604020202020204" charset="0"/>
            </a:rPr>
            <a:t>Dimensão participativa</a:t>
          </a:r>
        </a:p>
      </dsp:txBody>
      <dsp:txXfrm>
        <a:off x="149516" y="2252597"/>
        <a:ext cx="1077274" cy="979248"/>
      </dsp:txXfrm>
    </dsp:sp>
    <dsp:sp modelId="{DE4C88A0-C1D8-4494-AC31-6F26EA46FA27}">
      <dsp:nvSpPr>
        <dsp:cNvPr id="0" name=""/>
        <dsp:cNvSpPr/>
      </dsp:nvSpPr>
      <dsp:spPr>
        <a:xfrm>
          <a:off x="1346628" y="2222131"/>
          <a:ext cx="1138206" cy="10401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b="1" kern="1200" dirty="0">
              <a:latin typeface="Epilogue" panose="020B0604020202020204" charset="0"/>
            </a:rPr>
            <a:t>Dimensão da gestão</a:t>
          </a:r>
        </a:p>
      </dsp:txBody>
      <dsp:txXfrm>
        <a:off x="1377094" y="2252597"/>
        <a:ext cx="1077274" cy="979248"/>
      </dsp:txXfrm>
    </dsp:sp>
    <dsp:sp modelId="{2AA55E07-20DC-4E6C-8AE9-C77CF320A16F}">
      <dsp:nvSpPr>
        <dsp:cNvPr id="0" name=""/>
        <dsp:cNvSpPr/>
      </dsp:nvSpPr>
      <dsp:spPr>
        <a:xfrm>
          <a:off x="2424578" y="1111065"/>
          <a:ext cx="1456870" cy="10401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b="1" kern="1200" dirty="0">
              <a:latin typeface="Epilogue" panose="020B0604020202020204" charset="0"/>
            </a:rPr>
            <a:t>É uma prática política e administrativa</a:t>
          </a:r>
        </a:p>
      </dsp:txBody>
      <dsp:txXfrm>
        <a:off x="2455044" y="1141531"/>
        <a:ext cx="1395938" cy="979248"/>
      </dsp:txXfrm>
    </dsp:sp>
    <dsp:sp modelId="{D3EA379A-6EDD-419C-B394-53BD4D02F231}">
      <dsp:nvSpPr>
        <dsp:cNvPr id="0" name=""/>
        <dsp:cNvSpPr/>
      </dsp:nvSpPr>
      <dsp:spPr>
        <a:xfrm>
          <a:off x="2583910" y="2220636"/>
          <a:ext cx="1138206" cy="10401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b="1" kern="1200" dirty="0">
              <a:latin typeface="Epilogue" panose="020B0604020202020204" charset="0"/>
            </a:rPr>
            <a:t>Dimensão cultural</a:t>
          </a:r>
        </a:p>
      </dsp:txBody>
      <dsp:txXfrm>
        <a:off x="2614376" y="2251102"/>
        <a:ext cx="1077274" cy="9792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A16229-E5E0-40BD-8CD1-5DFA1B055589}">
      <dsp:nvSpPr>
        <dsp:cNvPr id="0" name=""/>
        <dsp:cNvSpPr/>
      </dsp:nvSpPr>
      <dsp:spPr>
        <a:xfrm rot="5400000">
          <a:off x="642317" y="871994"/>
          <a:ext cx="1504662" cy="2503723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E14491-20C1-4709-B98D-FD65A70373A4}">
      <dsp:nvSpPr>
        <dsp:cNvPr id="0" name=""/>
        <dsp:cNvSpPr/>
      </dsp:nvSpPr>
      <dsp:spPr>
        <a:xfrm>
          <a:off x="441897" y="1622129"/>
          <a:ext cx="2554676" cy="19813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b="1" kern="1200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Visita a mais de 40 Políticas de Ordenamento e Uso do Território nacionais</a:t>
          </a:r>
        </a:p>
      </dsp:txBody>
      <dsp:txXfrm>
        <a:off x="441897" y="1622129"/>
        <a:ext cx="2554676" cy="1981352"/>
      </dsp:txXfrm>
    </dsp:sp>
    <dsp:sp modelId="{5DD6546E-E086-4DF4-AC8F-3CA0C05F5DF1}">
      <dsp:nvSpPr>
        <dsp:cNvPr id="0" name=""/>
        <dsp:cNvSpPr/>
      </dsp:nvSpPr>
      <dsp:spPr>
        <a:xfrm>
          <a:off x="2225042" y="687667"/>
          <a:ext cx="426486" cy="426486"/>
        </a:xfrm>
        <a:prstGeom prst="triangle">
          <a:avLst>
            <a:gd name="adj" fmla="val 10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979116-9542-4D0E-BF90-E640AE2D215B}">
      <dsp:nvSpPr>
        <dsp:cNvPr id="0" name=""/>
        <dsp:cNvSpPr/>
      </dsp:nvSpPr>
      <dsp:spPr>
        <a:xfrm rot="5400000">
          <a:off x="3556610" y="187262"/>
          <a:ext cx="1504662" cy="2503723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86A128-00A6-4415-965E-56F0DAD1F149}">
      <dsp:nvSpPr>
        <dsp:cNvPr id="0" name=""/>
        <dsp:cNvSpPr/>
      </dsp:nvSpPr>
      <dsp:spPr>
        <a:xfrm>
          <a:off x="3303003" y="924954"/>
          <a:ext cx="2486006" cy="19813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b="1" kern="1200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União Europeia</a:t>
          </a:r>
        </a:p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b="1" kern="1200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França</a:t>
          </a:r>
        </a:p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b="1" kern="1200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Portugal</a:t>
          </a:r>
        </a:p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b="1" kern="1200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Colômbia</a:t>
          </a:r>
        </a:p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b="1" kern="1200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Costa Rica</a:t>
          </a:r>
        </a:p>
      </dsp:txBody>
      <dsp:txXfrm>
        <a:off x="3303003" y="924954"/>
        <a:ext cx="2486006" cy="1981352"/>
      </dsp:txXfrm>
    </dsp:sp>
    <dsp:sp modelId="{0D0A99C3-1F44-459B-87D1-8BAE3849AE21}">
      <dsp:nvSpPr>
        <dsp:cNvPr id="0" name=""/>
        <dsp:cNvSpPr/>
      </dsp:nvSpPr>
      <dsp:spPr>
        <a:xfrm>
          <a:off x="5139334" y="2935"/>
          <a:ext cx="426486" cy="426486"/>
        </a:xfrm>
        <a:prstGeom prst="triangle">
          <a:avLst>
            <a:gd name="adj" fmla="val 10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962353-663F-49E9-9C23-7C40EBF9CAD9}">
      <dsp:nvSpPr>
        <dsp:cNvPr id="0" name=""/>
        <dsp:cNvSpPr/>
      </dsp:nvSpPr>
      <dsp:spPr>
        <a:xfrm rot="5400000">
          <a:off x="6470902" y="-497469"/>
          <a:ext cx="1504662" cy="2503723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25B4B2-3F9F-48ED-A049-5A5E29EE3252}">
      <dsp:nvSpPr>
        <dsp:cNvPr id="0" name=""/>
        <dsp:cNvSpPr/>
      </dsp:nvSpPr>
      <dsp:spPr>
        <a:xfrm>
          <a:off x="6194713" y="273568"/>
          <a:ext cx="2595996" cy="19813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b="1" kern="1200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Estudos PNOT:</a:t>
          </a:r>
        </a:p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b="1" kern="1200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2007</a:t>
          </a:r>
        </a:p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b="1" kern="1200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2020</a:t>
          </a:r>
        </a:p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b="1" kern="1200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rPr>
            <a:t>2023 </a:t>
          </a:r>
        </a:p>
      </dsp:txBody>
      <dsp:txXfrm>
        <a:off x="6194713" y="273568"/>
        <a:ext cx="2595996" cy="19813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2714625" y="515938"/>
            <a:ext cx="4591050" cy="2582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1002031" y="3271878"/>
            <a:ext cx="8016239" cy="30996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00" tIns="96600" rIns="96600" bIns="96600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11" name="Google Shape;711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608301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" name="Google Shape;883;g17e0beec93d_0_260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4" name="Google Shape;884;g17e0beec93d_0_260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74154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B25F6D-8475-298D-CFBC-CD1A407001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9DA8136-7F82-7958-67D6-B969FF1135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C59CFC4-65B1-6B1F-82F0-643E17D5CE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BF869-E2A2-4836-B36A-F703B45DE104}" type="datetimeFigureOut">
              <a:rPr lang="pt-BR" smtClean="0"/>
              <a:t>18/03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5F7C5B6-9AF2-FA9F-83EE-5F4C2CFA6C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9DBA736-FA0E-78AA-6203-519170DB2A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0722686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8183B1A-EE49-364D-0126-467D4ADDD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5D13CB9-B7AF-A12B-9446-0F9D61047D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8DB7DFA-2621-B641-3257-D17DD00022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BF869-E2A2-4836-B36A-F703B45DE104}" type="datetimeFigureOut">
              <a:rPr lang="pt-BR" smtClean="0"/>
              <a:t>18/03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A2CCF25-94BE-F8A3-5406-1497A6274F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BBEB070-C842-C28B-1132-1205BB30E7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52487198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71B4A6F-C9EC-3775-4C59-2CF0FAA01AB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2F92E72-5817-AA2E-E778-D8C114D573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B8753B1-B61D-FCD5-D4D4-1BAF76482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BF869-E2A2-4836-B36A-F703B45DE104}" type="datetimeFigureOut">
              <a:rPr lang="pt-BR" smtClean="0"/>
              <a:t>18/03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8CB9971-4FA4-0000-0FB6-080D4CA404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2C7D1CB-FD7C-5194-1526-2341C20DE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4171109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4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3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188" name="Google Shape;188;p4"/>
          <p:cNvSpPr txBox="1">
            <a:spLocks noGrp="1"/>
          </p:cNvSpPr>
          <p:nvPr>
            <p:ph type="body" idx="1"/>
          </p:nvPr>
        </p:nvSpPr>
        <p:spPr>
          <a:xfrm>
            <a:off x="720000" y="1017725"/>
            <a:ext cx="7704000" cy="3586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/>
            </a:lvl1pPr>
            <a:lvl2pPr marL="914400" lvl="1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2pPr>
            <a:lvl3pPr marL="1371600" lvl="2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3pPr>
            <a:lvl4pPr marL="1828800" lvl="3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/>
            </a:lvl4pPr>
            <a:lvl5pPr marL="2286000" lvl="4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5pPr>
            <a:lvl6pPr marL="2743200" lvl="5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6pPr>
            <a:lvl7pPr marL="3200400" lvl="6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/>
            </a:lvl7pPr>
            <a:lvl8pPr marL="3657600" lvl="7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8pPr>
            <a:lvl9pPr marL="4114800" lvl="8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30099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0D547D-0A36-6E71-C369-FFFD7BCA3E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9A34900-78FD-BC91-6D57-699D29C97A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55BF2EF-22D6-D85F-0590-F8F54484FA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BF869-E2A2-4836-B36A-F703B45DE104}" type="datetimeFigureOut">
              <a:rPr lang="pt-BR" smtClean="0"/>
              <a:t>18/03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74C35A2-E02B-A139-D25B-C16050A5F8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9C475AF-EDCF-9244-4CBE-DFA6948ED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591656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48F6A8E-A7F8-460C-39A1-58CD3D4CA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FE3B267-05E9-9735-C207-1355C354B4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82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82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B123C6C-5AC7-BF08-1BAA-84FFDB4ACD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BF869-E2A2-4836-B36A-F703B45DE104}" type="datetimeFigureOut">
              <a:rPr lang="pt-BR" smtClean="0"/>
              <a:t>18/03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655EE3C-101B-06B2-BC2E-A72479E5E2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6E6F803-BD79-762F-821B-45784C6B90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06697371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A9254C-0EA5-9856-BA6D-D72332A734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D92CA6D-0E8C-CDDD-E7B7-4CC0E5F555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3740B1DA-CF13-7F11-F632-F1A0524030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A879D35-9D5B-C081-D493-C817D0FA62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BF869-E2A2-4836-B36A-F703B45DE104}" type="datetimeFigureOut">
              <a:rPr lang="pt-BR" smtClean="0"/>
              <a:t>18/03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5CC769C-4792-B9C2-3ADA-411412FD88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14E51DA-D37B-8E0E-6FBA-2EFAA37A6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6349788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E256DB2-12C5-ABE1-3C5E-E83BF193D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B91B714-44BF-17FC-E680-312B746807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7E23FE6-4F5B-9539-5A0E-8F28D6E15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6A708D02-4378-B553-5EEB-CB9C10AD9E1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ACDDB154-728C-6A20-CA6F-6DF0505706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460AF8D-233F-8AEE-6669-0B94FDC15E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BF869-E2A2-4836-B36A-F703B45DE104}" type="datetimeFigureOut">
              <a:rPr lang="pt-BR" smtClean="0"/>
              <a:t>18/03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FDAC3290-CE6E-05AA-20AD-A2FD1FC70B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ACE9A32E-2D4E-8FD6-C425-7446230AD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11754584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3C14021-B5BF-8D79-C638-810F100650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7EE283D1-34B3-C32A-A25B-E0DE84D02B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BF869-E2A2-4836-B36A-F703B45DE104}" type="datetimeFigureOut">
              <a:rPr lang="pt-BR" smtClean="0"/>
              <a:t>18/03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6DE2995-FF76-CD4E-01A0-2D64CA8BDF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531DC20-2F05-0EE3-52EF-51CCDFCA5E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2468025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48A9154B-63B8-AAD2-EA63-8AC8F69B6B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BF869-E2A2-4836-B36A-F703B45DE104}" type="datetimeFigureOut">
              <a:rPr lang="pt-BR" smtClean="0"/>
              <a:t>18/03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09B346C8-EC4E-6021-8061-8EBEA09A3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A3A1A5D-D313-CD22-8F87-2D62574B5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66821347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8BE19B-F325-63DF-42D2-4A57379933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3B733CA-56AB-CB3B-67A3-85EFEDBE82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FDF2133-FD3B-F012-EBAD-C34975DD12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255FAAE-E8E5-6179-B9CA-605378DB2F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BF869-E2A2-4836-B36A-F703B45DE104}" type="datetimeFigureOut">
              <a:rPr lang="pt-BR" smtClean="0"/>
              <a:t>18/03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6C55580-74C1-EE29-976A-3A71784AD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A719815-952E-7AED-0675-4103165E7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8867508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FE1BB07-5F6E-4327-01DC-45D86102D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12A8C896-8E4D-E6B2-BCD0-DCA2AF2AF5E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9D056C08-3492-116E-35FE-DDC448D825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CD12C6E-2316-C1B6-0A1D-D01C7EE2C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BF869-E2A2-4836-B36A-F703B45DE104}" type="datetimeFigureOut">
              <a:rPr lang="pt-BR" smtClean="0"/>
              <a:t>18/03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B7EE2AC-7286-8E1B-6A85-6D9B7BA30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9F7FB2EE-BD86-F83D-7AB3-B39583636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46919479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7D7E9D9-253E-52AB-B73B-01185D356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7C8E859-320E-D896-15CA-C1448334B3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40D50F7-348A-AC72-0E32-1F1CCFD27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A2BF869-E2A2-4836-B36A-F703B45DE104}" type="datetimeFigureOut">
              <a:rPr lang="pt-BR" smtClean="0"/>
              <a:t>18/03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6358C09-ACBE-4A35-D792-9AD53B17E0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57D52CE-379D-6B5C-163D-3CCBDF13A3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826F28A-D5AD-417D-8195-24A21D7DEA1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06563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8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image" Target="../media/image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image" Target="../media/image1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A35DE90F-3173-689B-BC7A-AA9D8176DDC0}"/>
              </a:ext>
            </a:extLst>
          </p:cNvPr>
          <p:cNvCxnSpPr>
            <a:cxnSpLocks/>
          </p:cNvCxnSpPr>
          <p:nvPr/>
        </p:nvCxnSpPr>
        <p:spPr>
          <a:xfrm>
            <a:off x="5494779" y="4356674"/>
            <a:ext cx="2610349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ítulo 3">
            <a:extLst>
              <a:ext uri="{FF2B5EF4-FFF2-40B4-BE49-F238E27FC236}">
                <a16:creationId xmlns:a16="http://schemas.microsoft.com/office/drawing/2014/main" id="{2EA76926-CB27-0E36-8FF6-17DE67CE8A3D}"/>
              </a:ext>
            </a:extLst>
          </p:cNvPr>
          <p:cNvSpPr txBox="1">
            <a:spLocks/>
          </p:cNvSpPr>
          <p:nvPr/>
        </p:nvSpPr>
        <p:spPr>
          <a:xfrm>
            <a:off x="92237" y="614186"/>
            <a:ext cx="4407027" cy="175432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783" eaLnBrk="0" fontAlgn="base" hangingPunct="0">
              <a:spcAft>
                <a:spcPct val="0"/>
              </a:spcAft>
              <a:defRPr/>
            </a:pPr>
            <a:r>
              <a:rPr lang="pt-BR" sz="30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Epilogue" panose="020B0604020202020204" charset="0"/>
                <a:ea typeface="+mn-ea"/>
                <a:cs typeface="Calibri" panose="020F0502020204030204" pitchFamily="34" charset="0"/>
              </a:rPr>
              <a:t>A retomada da Política Nacional de Ordenamento Territorial - PNOT</a:t>
            </a:r>
          </a:p>
        </p:txBody>
      </p:sp>
    </p:spTree>
    <p:extLst>
      <p:ext uri="{BB962C8B-B14F-4D97-AF65-F5344CB8AC3E}">
        <p14:creationId xmlns:p14="http://schemas.microsoft.com/office/powerpoint/2010/main" val="10519544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10</a:t>
            </a:fld>
            <a:endParaRPr lang="pt-BR"/>
          </a:p>
        </p:txBody>
      </p:sp>
      <p:sp>
        <p:nvSpPr>
          <p:cNvPr id="5" name="Google Shape;493;p17"/>
          <p:cNvSpPr txBox="1">
            <a:spLocks noGrp="1"/>
          </p:cNvSpPr>
          <p:nvPr>
            <p:ph idx="1"/>
          </p:nvPr>
        </p:nvSpPr>
        <p:spPr>
          <a:xfrm>
            <a:off x="93518" y="238992"/>
            <a:ext cx="8884227" cy="274217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indent="0" algn="ctr">
              <a:buNone/>
            </a:pPr>
            <a:r>
              <a:rPr lang="pt-BR" altLang="pt-BR" sz="24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Território Usado, supera a conceituação pura de Território, e ultrapassa o </a:t>
            </a:r>
            <a:r>
              <a:rPr lang="pt-BR" altLang="pt-BR" sz="2400" b="1" dirty="0" err="1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economicismo</a:t>
            </a:r>
            <a:r>
              <a:rPr lang="pt-BR" altLang="pt-BR" sz="24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, entendendo-o como resultante da </a:t>
            </a:r>
            <a:r>
              <a:rPr lang="pt-BR" altLang="pt-BR" sz="2400" b="1" i="1" dirty="0" err="1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praxis</a:t>
            </a:r>
            <a:r>
              <a:rPr lang="pt-BR" altLang="pt-BR" sz="24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 política. </a:t>
            </a:r>
          </a:p>
          <a:p>
            <a:pPr marL="0" indent="0" algn="ctr">
              <a:buNone/>
            </a:pPr>
            <a:r>
              <a:rPr lang="pt-BR" altLang="pt-BR" sz="24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É uma configuração espessa de mediações (materiais e imateriais), que contempla os agentes, tanto os hegemônicos como os hegemonizados e nos permite compreendê-lo como: “uma trama de relações complementares e conflitantes”. (SANTOS, 2001)</a:t>
            </a:r>
          </a:p>
        </p:txBody>
      </p:sp>
      <p:sp>
        <p:nvSpPr>
          <p:cNvPr id="6" name="Seta para Baixo 5"/>
          <p:cNvSpPr/>
          <p:nvPr/>
        </p:nvSpPr>
        <p:spPr>
          <a:xfrm>
            <a:off x="2415885" y="3204578"/>
            <a:ext cx="4239491" cy="805148"/>
          </a:xfrm>
          <a:prstGeom prst="down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485773" y="4039546"/>
            <a:ext cx="79126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O grande desafio da PNOT</a:t>
            </a:r>
          </a:p>
        </p:txBody>
      </p:sp>
      <p:sp>
        <p:nvSpPr>
          <p:cNvPr id="8" name="Freeform 7"/>
          <p:cNvSpPr/>
          <p:nvPr/>
        </p:nvSpPr>
        <p:spPr>
          <a:xfrm>
            <a:off x="7392336" y="4707623"/>
            <a:ext cx="1693957" cy="476426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771553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4300" y="0"/>
            <a:ext cx="8946573" cy="748687"/>
          </a:xfrm>
        </p:spPr>
        <p:txBody>
          <a:bodyPr>
            <a:normAutofit/>
          </a:bodyPr>
          <a:lstStyle/>
          <a:p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A retomada deve levar em consideraçã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87036" y="748687"/>
            <a:ext cx="8790709" cy="4176604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Contexto global e os fenômenos socioambientais, enfatizando as mudanças climáticas e suas repercussões territoriais;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Contexto nacional/regional/local de lógicas territoriais instaladas;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Contexto institucional de políticas/programas e projetos de governo com incidência territorial;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Contexto do baixo letramento territorial existente nas unidades de governo, em todas as esferas;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Contexto federativo, marcado por assimetrias na assimilação de novas agendas e, portanto de capacidades;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Contexto da participação social, com segmentos representados nas políticas, que podem instaurar disputas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11</a:t>
            </a:fld>
            <a:endParaRPr lang="pt-BR"/>
          </a:p>
        </p:txBody>
      </p:sp>
      <p:sp>
        <p:nvSpPr>
          <p:cNvPr id="5" name="Freeform 7"/>
          <p:cNvSpPr/>
          <p:nvPr/>
        </p:nvSpPr>
        <p:spPr>
          <a:xfrm>
            <a:off x="7450043" y="4667074"/>
            <a:ext cx="1693957" cy="476426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446302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4172"/>
          </a:xfrm>
        </p:spPr>
        <p:txBody>
          <a:bodyPr>
            <a:normAutofit fontScale="90000"/>
          </a:bodyPr>
          <a:lstStyle/>
          <a:p>
            <a:pPr algn="ctr"/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Alicerces teóricos que dão operacionalidade a PNOT na contemporaneidade</a:t>
            </a:r>
          </a:p>
        </p:txBody>
      </p:sp>
      <p:graphicFrame>
        <p:nvGraphicFramePr>
          <p:cNvPr id="6" name="Espaço Reservado para Conteúdo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453854292"/>
              </p:ext>
            </p:extLst>
          </p:nvPr>
        </p:nvGraphicFramePr>
        <p:xfrm>
          <a:off x="628650" y="1370013"/>
          <a:ext cx="3886200" cy="3262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Espaço Reservado para Conteúdo 6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503520169"/>
              </p:ext>
            </p:extLst>
          </p:nvPr>
        </p:nvGraphicFramePr>
        <p:xfrm>
          <a:off x="4629150" y="1370013"/>
          <a:ext cx="3886200" cy="3262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12</a:t>
            </a:fld>
            <a:endParaRPr lang="pt-BR"/>
          </a:p>
        </p:txBody>
      </p:sp>
      <p:sp>
        <p:nvSpPr>
          <p:cNvPr id="8" name="Freeform 7"/>
          <p:cNvSpPr/>
          <p:nvPr/>
        </p:nvSpPr>
        <p:spPr>
          <a:xfrm>
            <a:off x="7450043" y="4667074"/>
            <a:ext cx="1693957" cy="476426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111865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4172"/>
          </a:xfrm>
        </p:spPr>
        <p:txBody>
          <a:bodyPr>
            <a:normAutofit fontScale="90000"/>
          </a:bodyPr>
          <a:lstStyle/>
          <a:p>
            <a:pPr algn="ctr"/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O exercício de </a:t>
            </a:r>
            <a:r>
              <a:rPr lang="pt-BR" b="1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olhar para o </a:t>
            </a:r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Brasil a partir de experiências internacionais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13</a:t>
            </a:fld>
            <a:endParaRPr lang="pt-BR"/>
          </a:p>
        </p:txBody>
      </p:sp>
      <p:graphicFrame>
        <p:nvGraphicFramePr>
          <p:cNvPr id="7" name="Espaço Reservado para Conteúdo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99604328"/>
              </p:ext>
            </p:extLst>
          </p:nvPr>
        </p:nvGraphicFramePr>
        <p:xfrm>
          <a:off x="176645" y="1163781"/>
          <a:ext cx="8790710" cy="360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Freeform 7"/>
          <p:cNvSpPr/>
          <p:nvPr/>
        </p:nvSpPr>
        <p:spPr>
          <a:xfrm>
            <a:off x="7450043" y="4667074"/>
            <a:ext cx="1693957" cy="476426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022404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1" name="Google Shape;891;p46"/>
          <p:cNvSpPr/>
          <p:nvPr/>
        </p:nvSpPr>
        <p:spPr>
          <a:xfrm>
            <a:off x="196580" y="1286568"/>
            <a:ext cx="775200" cy="775200"/>
          </a:xfrm>
          <a:prstGeom prst="rect">
            <a:avLst/>
          </a:prstGeom>
          <a:noFill/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2EA76926-CB27-0E36-8FF6-17DE67CE8A3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04345"/>
            <a:ext cx="9043792" cy="509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783" eaLnBrk="0" fontAlgn="base" hangingPunct="0">
              <a:spcAft>
                <a:spcPct val="0"/>
              </a:spcAft>
              <a:defRPr/>
            </a:pPr>
            <a:r>
              <a:rPr lang="pt-BR" sz="30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Epilogue" panose="020B0604020202020204" charset="0"/>
                <a:ea typeface="+mn-ea"/>
                <a:cs typeface="Calibri" panose="020F0502020204030204" pitchFamily="34" charset="0"/>
              </a:rPr>
              <a:t>A concepção da PNOT deverá: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1C50423C-1DE2-26B4-4A0B-7E2C1806ABCA}"/>
              </a:ext>
            </a:extLst>
          </p:cNvPr>
          <p:cNvSpPr txBox="1"/>
          <p:nvPr/>
        </p:nvSpPr>
        <p:spPr>
          <a:xfrm>
            <a:off x="196580" y="619185"/>
            <a:ext cx="871333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68578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tx2">
                    <a:lumMod val="90000"/>
                    <a:lumOff val="10000"/>
                  </a:schemeClr>
                </a:solidFill>
                <a:latin typeface="Epilogue" panose="020B0604020202020204" charset="0"/>
              </a:rPr>
              <a:t>Constituir-se como instância de negociação e governança com a finalidade de evitar e mitigar conflitos e fricções institucionais.</a:t>
            </a:r>
          </a:p>
          <a:p>
            <a:pPr marL="285750" indent="-285750" defTabSz="68578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tx2">
                    <a:lumMod val="90000"/>
                    <a:lumOff val="10000"/>
                  </a:schemeClr>
                </a:solidFill>
                <a:latin typeface="Epilogue" panose="020B0604020202020204" charset="0"/>
              </a:rPr>
              <a:t>Indicar os princípios de resiliência e </a:t>
            </a:r>
            <a:r>
              <a:rPr lang="pt-BR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Epilogue" panose="020B0604020202020204" charset="0"/>
              </a:rPr>
              <a:t>contratualização</a:t>
            </a:r>
            <a:r>
              <a:rPr lang="pt-BR" b="1" dirty="0">
                <a:solidFill>
                  <a:schemeClr val="tx2">
                    <a:lumMod val="90000"/>
                    <a:lumOff val="10000"/>
                  </a:schemeClr>
                </a:solidFill>
                <a:latin typeface="Epilogue" panose="020B0604020202020204" charset="0"/>
              </a:rPr>
              <a:t> para as demais políticas/programas com incidência territorial.</a:t>
            </a:r>
          </a:p>
          <a:p>
            <a:pPr marL="285750" indent="-285750" defTabSz="68578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tx2">
                    <a:lumMod val="90000"/>
                    <a:lumOff val="10000"/>
                  </a:schemeClr>
                </a:solidFill>
                <a:latin typeface="Epilogue" panose="020B0604020202020204" charset="0"/>
              </a:rPr>
              <a:t>Sistematizar instrumentos já existentes para a boa governança, e indicar lacunas ainda necessárias para boa gestão territorial.</a:t>
            </a:r>
          </a:p>
          <a:p>
            <a:pPr marL="285750" indent="-285750" defTabSz="68578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tx2">
                    <a:lumMod val="90000"/>
                    <a:lumOff val="10000"/>
                  </a:schemeClr>
                </a:solidFill>
                <a:latin typeface="Epilogue" panose="020B0604020202020204" charset="0"/>
              </a:rPr>
              <a:t>Conter uma camada de estratégias para o fortalecimento institucional para as politicas, implícitas e explicitas, que incidem territorialmente.</a:t>
            </a:r>
          </a:p>
          <a:p>
            <a:pPr marL="285750" indent="-285750" defTabSz="68578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tx2">
                    <a:lumMod val="90000"/>
                    <a:lumOff val="10000"/>
                  </a:schemeClr>
                </a:solidFill>
                <a:latin typeface="Epilogue" panose="020B0604020202020204" charset="0"/>
              </a:rPr>
              <a:t>Propor bases de informação, com dados e variáveis que expressem seu escopo, bem como que tangenciem outras políticas com incidência territorial.</a:t>
            </a:r>
          </a:p>
          <a:p>
            <a:pPr marL="285750" indent="-285750" defTabSz="68578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tx2">
                    <a:lumMod val="90000"/>
                    <a:lumOff val="10000"/>
                  </a:schemeClr>
                </a:solidFill>
                <a:latin typeface="Epilogue" panose="020B0604020202020204" charset="0"/>
              </a:rPr>
              <a:t>Ampliar a perspectiva da abordagem territorial, antes limitada ao continente, para a Amazônia Azul.</a:t>
            </a:r>
          </a:p>
          <a:p>
            <a:pPr marL="285750" indent="-285750" defTabSz="68578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tx2">
                    <a:lumMod val="90000"/>
                    <a:lumOff val="10000"/>
                  </a:schemeClr>
                </a:solidFill>
                <a:latin typeface="Epilogue" panose="020B0604020202020204" charset="0"/>
              </a:rPr>
              <a:t>Sugerir estratégias de letramento territorial para a sociedade e governos. </a:t>
            </a:r>
          </a:p>
        </p:txBody>
      </p:sp>
      <p:sp>
        <p:nvSpPr>
          <p:cNvPr id="31" name="Freeform 7"/>
          <p:cNvSpPr/>
          <p:nvPr/>
        </p:nvSpPr>
        <p:spPr>
          <a:xfrm>
            <a:off x="7450043" y="4667074"/>
            <a:ext cx="1693957" cy="476426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908246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28650" y="724983"/>
            <a:ext cx="7886700" cy="326350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pt-BR" sz="40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Obrigado!</a:t>
            </a:r>
          </a:p>
          <a:p>
            <a:pPr marL="0" indent="0" algn="ctr">
              <a:buNone/>
            </a:pPr>
            <a:endParaRPr lang="pt-BR" sz="3600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endParaRPr>
          </a:p>
          <a:p>
            <a:pPr marL="0" indent="0" algn="ctr">
              <a:buNone/>
            </a:pPr>
            <a:endParaRPr lang="pt-BR" sz="320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15</a:t>
            </a:fld>
            <a:endParaRPr lang="pt-BR"/>
          </a:p>
        </p:txBody>
      </p:sp>
      <p:sp>
        <p:nvSpPr>
          <p:cNvPr id="5" name="Freeform 7"/>
          <p:cNvSpPr/>
          <p:nvPr/>
        </p:nvSpPr>
        <p:spPr>
          <a:xfrm>
            <a:off x="7450043" y="4667074"/>
            <a:ext cx="1693957" cy="476426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71813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4172"/>
          </a:xfrm>
        </p:spPr>
        <p:txBody>
          <a:bodyPr>
            <a:normAutofit/>
          </a:bodyPr>
          <a:lstStyle/>
          <a:p>
            <a:pPr algn="ctr"/>
            <a:r>
              <a:rPr lang="pt-BR" sz="3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Epilogue" panose="020B0604020202020204" charset="0"/>
              </a:rPr>
              <a:t>A PNOT em três momento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2</a:t>
            </a:fld>
            <a:endParaRPr lang="pt-BR"/>
          </a:p>
        </p:txBody>
      </p:sp>
      <p:graphicFrame>
        <p:nvGraphicFramePr>
          <p:cNvPr id="8" name="Espaço Reservado para Conteúdo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43402955"/>
              </p:ext>
            </p:extLst>
          </p:nvPr>
        </p:nvGraphicFramePr>
        <p:xfrm>
          <a:off x="135080" y="1395172"/>
          <a:ext cx="8686801" cy="35090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Freeform 7"/>
          <p:cNvSpPr/>
          <p:nvPr/>
        </p:nvSpPr>
        <p:spPr>
          <a:xfrm>
            <a:off x="7624019" y="4815895"/>
            <a:ext cx="1519981" cy="324217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538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/>
          <p:cNvSpPr txBox="1"/>
          <p:nvPr/>
        </p:nvSpPr>
        <p:spPr>
          <a:xfrm>
            <a:off x="115415" y="107956"/>
            <a:ext cx="8913172" cy="4891424"/>
          </a:xfrm>
          <a:prstGeom prst="rect">
            <a:avLst/>
          </a:prstGeom>
        </p:spPr>
        <p:txBody>
          <a:bodyPr lIns="25400" tIns="25400" rIns="25400" bIns="25400" rtlCol="0" anchor="ctr"/>
          <a:lstStyle/>
          <a:p>
            <a:pPr algn="ctr" defTabSz="685800">
              <a:lnSpc>
                <a:spcPts val="1296"/>
              </a:lnSpc>
              <a:defRPr/>
            </a:pPr>
            <a:endParaRPr sz="9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Freeform 7"/>
          <p:cNvSpPr/>
          <p:nvPr/>
        </p:nvSpPr>
        <p:spPr>
          <a:xfrm>
            <a:off x="7392336" y="4707623"/>
            <a:ext cx="1693957" cy="476426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AutoShape 8"/>
          <p:cNvSpPr/>
          <p:nvPr/>
        </p:nvSpPr>
        <p:spPr>
          <a:xfrm>
            <a:off x="1447155" y="2307409"/>
            <a:ext cx="679051" cy="0"/>
          </a:xfrm>
          <a:prstGeom prst="line">
            <a:avLst/>
          </a:prstGeom>
          <a:ln w="57150" cap="flat">
            <a:solidFill>
              <a:schemeClr val="accent1">
                <a:lumMod val="7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AutoShape 9"/>
          <p:cNvSpPr/>
          <p:nvPr/>
        </p:nvSpPr>
        <p:spPr>
          <a:xfrm>
            <a:off x="2856622" y="2307409"/>
            <a:ext cx="666283" cy="0"/>
          </a:xfrm>
          <a:prstGeom prst="line">
            <a:avLst/>
          </a:prstGeom>
          <a:ln w="57150" cap="flat">
            <a:solidFill>
              <a:schemeClr val="accent1">
                <a:lumMod val="7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AutoShape 10"/>
          <p:cNvSpPr/>
          <p:nvPr/>
        </p:nvSpPr>
        <p:spPr>
          <a:xfrm>
            <a:off x="4253321" y="2307409"/>
            <a:ext cx="679558" cy="0"/>
          </a:xfrm>
          <a:prstGeom prst="line">
            <a:avLst/>
          </a:prstGeom>
          <a:ln w="57150" cap="flat">
            <a:solidFill>
              <a:schemeClr val="accent1">
                <a:lumMod val="7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AutoShape 11"/>
          <p:cNvSpPr/>
          <p:nvPr/>
        </p:nvSpPr>
        <p:spPr>
          <a:xfrm>
            <a:off x="5663295" y="2307409"/>
            <a:ext cx="635023" cy="0"/>
          </a:xfrm>
          <a:prstGeom prst="line">
            <a:avLst/>
          </a:prstGeom>
          <a:ln w="57150" cap="flat">
            <a:solidFill>
              <a:schemeClr val="accent1">
                <a:lumMod val="7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AutoShape 12"/>
          <p:cNvSpPr/>
          <p:nvPr/>
        </p:nvSpPr>
        <p:spPr>
          <a:xfrm>
            <a:off x="7028734" y="2307409"/>
            <a:ext cx="696047" cy="0"/>
          </a:xfrm>
          <a:prstGeom prst="line">
            <a:avLst/>
          </a:prstGeom>
          <a:ln w="57150" cap="flat">
            <a:solidFill>
              <a:schemeClr val="accent1">
                <a:lumMod val="7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3" name="Group 13"/>
          <p:cNvGrpSpPr/>
          <p:nvPr/>
        </p:nvGrpSpPr>
        <p:grpSpPr>
          <a:xfrm>
            <a:off x="716738" y="1942201"/>
            <a:ext cx="730416" cy="730416"/>
            <a:chOff x="0" y="0"/>
            <a:chExt cx="812800" cy="812800"/>
          </a:xfrm>
          <a:solidFill>
            <a:schemeClr val="accent1">
              <a:lumMod val="75000"/>
            </a:schemeClr>
          </a:solidFill>
        </p:grpSpPr>
        <p:sp>
          <p:nvSpPr>
            <p:cNvPr id="14" name="Freeform 1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TextBox 15"/>
            <p:cNvSpPr txBox="1"/>
            <p:nvPr/>
          </p:nvSpPr>
          <p:spPr>
            <a:xfrm>
              <a:off x="76200" y="9525"/>
              <a:ext cx="660400" cy="727075"/>
            </a:xfrm>
            <a:prstGeom prst="rect">
              <a:avLst/>
            </a:prstGeom>
            <a:grpFill/>
          </p:spPr>
          <p:txBody>
            <a:bodyPr lIns="25400" tIns="25400" rIns="25400" bIns="25400" rtlCol="0" anchor="ctr"/>
            <a:lstStyle/>
            <a:p>
              <a:pPr algn="ctr" defTabSz="685800">
                <a:lnSpc>
                  <a:spcPts val="1050"/>
                </a:lnSpc>
                <a:defRPr/>
              </a:pPr>
              <a:endParaRPr sz="90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6" name="Group 16"/>
          <p:cNvGrpSpPr/>
          <p:nvPr/>
        </p:nvGrpSpPr>
        <p:grpSpPr>
          <a:xfrm>
            <a:off x="2126205" y="1942201"/>
            <a:ext cx="730416" cy="730416"/>
            <a:chOff x="0" y="0"/>
            <a:chExt cx="812800" cy="812800"/>
          </a:xfrm>
          <a:solidFill>
            <a:schemeClr val="accent1">
              <a:lumMod val="75000"/>
            </a:schemeClr>
          </a:solidFill>
        </p:grpSpPr>
        <p:sp>
          <p:nvSpPr>
            <p:cNvPr id="17" name="Freeform 1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TextBox 18"/>
            <p:cNvSpPr txBox="1"/>
            <p:nvPr/>
          </p:nvSpPr>
          <p:spPr>
            <a:xfrm>
              <a:off x="76200" y="9525"/>
              <a:ext cx="660400" cy="727075"/>
            </a:xfrm>
            <a:prstGeom prst="rect">
              <a:avLst/>
            </a:prstGeom>
            <a:grpFill/>
          </p:spPr>
          <p:txBody>
            <a:bodyPr lIns="25400" tIns="25400" rIns="25400" bIns="25400" rtlCol="0" anchor="ctr"/>
            <a:lstStyle/>
            <a:p>
              <a:pPr algn="ctr" defTabSz="685800">
                <a:lnSpc>
                  <a:spcPts val="1050"/>
                </a:lnSpc>
                <a:defRPr/>
              </a:pPr>
              <a:endParaRPr sz="90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9" name="Group 19"/>
          <p:cNvGrpSpPr/>
          <p:nvPr/>
        </p:nvGrpSpPr>
        <p:grpSpPr>
          <a:xfrm>
            <a:off x="3522905" y="1942201"/>
            <a:ext cx="730416" cy="730416"/>
            <a:chOff x="0" y="0"/>
            <a:chExt cx="812800" cy="812800"/>
          </a:xfrm>
          <a:solidFill>
            <a:schemeClr val="accent1">
              <a:lumMod val="75000"/>
            </a:schemeClr>
          </a:solidFill>
        </p:grpSpPr>
        <p:sp>
          <p:nvSpPr>
            <p:cNvPr id="20" name="Freeform 2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TextBox 21"/>
            <p:cNvSpPr txBox="1"/>
            <p:nvPr/>
          </p:nvSpPr>
          <p:spPr>
            <a:xfrm>
              <a:off x="76200" y="9525"/>
              <a:ext cx="660400" cy="727075"/>
            </a:xfrm>
            <a:prstGeom prst="rect">
              <a:avLst/>
            </a:prstGeom>
            <a:grpFill/>
          </p:spPr>
          <p:txBody>
            <a:bodyPr lIns="25400" tIns="25400" rIns="25400" bIns="25400" rtlCol="0" anchor="ctr"/>
            <a:lstStyle/>
            <a:p>
              <a:pPr algn="ctr" defTabSz="685800">
                <a:lnSpc>
                  <a:spcPts val="1050"/>
                </a:lnSpc>
                <a:defRPr/>
              </a:pPr>
              <a:endParaRPr sz="90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" name="Group 22"/>
          <p:cNvGrpSpPr/>
          <p:nvPr/>
        </p:nvGrpSpPr>
        <p:grpSpPr>
          <a:xfrm>
            <a:off x="4932878" y="1942201"/>
            <a:ext cx="730416" cy="730416"/>
            <a:chOff x="0" y="0"/>
            <a:chExt cx="812800" cy="812800"/>
          </a:xfrm>
          <a:solidFill>
            <a:schemeClr val="accent1">
              <a:lumMod val="75000"/>
            </a:schemeClr>
          </a:solidFill>
        </p:grpSpPr>
        <p:sp>
          <p:nvSpPr>
            <p:cNvPr id="23" name="Freeform 2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TextBox 24"/>
            <p:cNvSpPr txBox="1"/>
            <p:nvPr/>
          </p:nvSpPr>
          <p:spPr>
            <a:xfrm>
              <a:off x="76200" y="9525"/>
              <a:ext cx="660400" cy="727075"/>
            </a:xfrm>
            <a:prstGeom prst="rect">
              <a:avLst/>
            </a:prstGeom>
            <a:grpFill/>
          </p:spPr>
          <p:txBody>
            <a:bodyPr lIns="25400" tIns="25400" rIns="25400" bIns="25400" rtlCol="0" anchor="ctr"/>
            <a:lstStyle/>
            <a:p>
              <a:pPr algn="ctr" defTabSz="685800">
                <a:lnSpc>
                  <a:spcPts val="1050"/>
                </a:lnSpc>
                <a:defRPr/>
              </a:pPr>
              <a:endParaRPr sz="90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5" name="Group 25"/>
          <p:cNvGrpSpPr/>
          <p:nvPr/>
        </p:nvGrpSpPr>
        <p:grpSpPr>
          <a:xfrm>
            <a:off x="6298316" y="1942201"/>
            <a:ext cx="730416" cy="730416"/>
            <a:chOff x="0" y="0"/>
            <a:chExt cx="812800" cy="812800"/>
          </a:xfrm>
          <a:solidFill>
            <a:schemeClr val="accent1">
              <a:lumMod val="75000"/>
            </a:schemeClr>
          </a:solidFill>
        </p:grpSpPr>
        <p:sp>
          <p:nvSpPr>
            <p:cNvPr id="26" name="Freeform 26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TextBox 27"/>
            <p:cNvSpPr txBox="1"/>
            <p:nvPr/>
          </p:nvSpPr>
          <p:spPr>
            <a:xfrm>
              <a:off x="76200" y="9525"/>
              <a:ext cx="660400" cy="727075"/>
            </a:xfrm>
            <a:prstGeom prst="rect">
              <a:avLst/>
            </a:prstGeom>
            <a:grpFill/>
          </p:spPr>
          <p:txBody>
            <a:bodyPr lIns="25400" tIns="25400" rIns="25400" bIns="25400" rtlCol="0" anchor="ctr"/>
            <a:lstStyle/>
            <a:p>
              <a:pPr algn="ctr" defTabSz="685800">
                <a:lnSpc>
                  <a:spcPts val="1050"/>
                </a:lnSpc>
                <a:defRPr/>
              </a:pPr>
              <a:endParaRPr sz="90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8" name="Group 28"/>
          <p:cNvGrpSpPr/>
          <p:nvPr/>
        </p:nvGrpSpPr>
        <p:grpSpPr>
          <a:xfrm>
            <a:off x="7724780" y="1942201"/>
            <a:ext cx="730416" cy="730416"/>
            <a:chOff x="0" y="0"/>
            <a:chExt cx="812800" cy="812800"/>
          </a:xfrm>
          <a:solidFill>
            <a:schemeClr val="accent1">
              <a:lumMod val="75000"/>
            </a:schemeClr>
          </a:solidFill>
        </p:grpSpPr>
        <p:sp>
          <p:nvSpPr>
            <p:cNvPr id="29" name="Freeform 2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TextBox 30"/>
            <p:cNvSpPr txBox="1"/>
            <p:nvPr/>
          </p:nvSpPr>
          <p:spPr>
            <a:xfrm>
              <a:off x="76200" y="9525"/>
              <a:ext cx="660400" cy="727075"/>
            </a:xfrm>
            <a:prstGeom prst="rect">
              <a:avLst/>
            </a:prstGeom>
            <a:grpFill/>
          </p:spPr>
          <p:txBody>
            <a:bodyPr lIns="25400" tIns="25400" rIns="25400" bIns="25400" rtlCol="0" anchor="ctr"/>
            <a:lstStyle/>
            <a:p>
              <a:pPr algn="ctr" defTabSz="685800">
                <a:lnSpc>
                  <a:spcPts val="1050"/>
                </a:lnSpc>
                <a:defRPr/>
              </a:pPr>
              <a:endParaRPr sz="90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31" name="Freeform 31"/>
          <p:cNvSpPr/>
          <p:nvPr/>
        </p:nvSpPr>
        <p:spPr>
          <a:xfrm>
            <a:off x="840226" y="2041722"/>
            <a:ext cx="493274" cy="493274"/>
          </a:xfrm>
          <a:custGeom>
            <a:avLst/>
            <a:gdLst/>
            <a:ahLst/>
            <a:cxnLst/>
            <a:rect l="l" t="t" r="r" b="b"/>
            <a:pathLst>
              <a:path w="986549" h="986549">
                <a:moveTo>
                  <a:pt x="0" y="0"/>
                </a:moveTo>
                <a:lnTo>
                  <a:pt x="986549" y="0"/>
                </a:lnTo>
                <a:lnTo>
                  <a:pt x="986549" y="986549"/>
                </a:lnTo>
                <a:lnTo>
                  <a:pt x="0" y="98654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TextBox 33"/>
          <p:cNvSpPr txBox="1"/>
          <p:nvPr/>
        </p:nvSpPr>
        <p:spPr>
          <a:xfrm>
            <a:off x="342900" y="2856816"/>
            <a:ext cx="1283624" cy="769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00">
              <a:lnSpc>
                <a:spcPts val="1506"/>
              </a:lnSpc>
              <a:defRPr/>
            </a:pPr>
            <a:r>
              <a:rPr lang="en-US" sz="1200" b="1" spc="15" dirty="0">
                <a:solidFill>
                  <a:schemeClr val="accent1">
                    <a:lumMod val="75000"/>
                  </a:schemeClr>
                </a:solidFill>
                <a:latin typeface="Arial Bold"/>
              </a:rPr>
              <a:t>Reconstituição do Grupo de Trabalho Interministerial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1741939" y="2857286"/>
            <a:ext cx="1292405" cy="57708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00">
              <a:lnSpc>
                <a:spcPts val="1506"/>
              </a:lnSpc>
              <a:defRPr/>
            </a:pPr>
            <a:r>
              <a:rPr lang="en-US" sz="1200" b="1" spc="15" dirty="0">
                <a:solidFill>
                  <a:schemeClr val="accent1">
                    <a:lumMod val="75000"/>
                  </a:schemeClr>
                </a:solidFill>
                <a:latin typeface="Arial Bold"/>
              </a:rPr>
              <a:t>Produção de materiais complementares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3348451" y="2856816"/>
            <a:ext cx="1079324" cy="9618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85800">
              <a:lnSpc>
                <a:spcPts val="1506"/>
              </a:lnSpc>
              <a:defRPr/>
            </a:pPr>
            <a:r>
              <a:rPr lang="en-US" sz="1200" b="1" spc="15" dirty="0">
                <a:solidFill>
                  <a:schemeClr val="accent1">
                    <a:lumMod val="75000"/>
                  </a:schemeClr>
                </a:solidFill>
                <a:latin typeface="Arial Bold"/>
              </a:rPr>
              <a:t>Sistematização e avaliação conjunta dos produtos de referência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4758424" y="2857286"/>
            <a:ext cx="1079324" cy="5640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85800">
              <a:lnSpc>
                <a:spcPts val="1506"/>
              </a:lnSpc>
              <a:defRPr/>
            </a:pPr>
            <a:r>
              <a:rPr lang="en-US" sz="1200" b="1" spc="15" dirty="0">
                <a:solidFill>
                  <a:schemeClr val="accent1">
                    <a:lumMod val="75000"/>
                  </a:schemeClr>
                </a:solidFill>
                <a:latin typeface="Arial Bold"/>
              </a:rPr>
              <a:t>Processo de Consulta Pública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6110944" y="2856816"/>
            <a:ext cx="1281391" cy="9618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00">
              <a:lnSpc>
                <a:spcPts val="1506"/>
              </a:lnSpc>
              <a:defRPr/>
            </a:pPr>
            <a:r>
              <a:rPr lang="en-US" sz="1200" b="1" spc="15" dirty="0">
                <a:solidFill>
                  <a:schemeClr val="accent1">
                    <a:lumMod val="75000"/>
                  </a:schemeClr>
                </a:solidFill>
                <a:latin typeface="Arial Bold"/>
              </a:rPr>
              <a:t>Formulação de instrumento legal para encaminhamento a PR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7550326" y="2857286"/>
            <a:ext cx="1157256" cy="57708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00">
              <a:lnSpc>
                <a:spcPts val="1506"/>
              </a:lnSpc>
              <a:defRPr/>
            </a:pPr>
            <a:r>
              <a:rPr lang="en-US" sz="1200" b="1" spc="15" dirty="0">
                <a:solidFill>
                  <a:schemeClr val="accent1">
                    <a:lumMod val="75000"/>
                  </a:schemeClr>
                </a:solidFill>
                <a:latin typeface="Arial Bold"/>
              </a:rPr>
              <a:t>Estratégias de </a:t>
            </a:r>
            <a:r>
              <a:rPr lang="en-US" sz="1200" b="1" spc="15" dirty="0">
                <a:solidFill>
                  <a:schemeClr val="accent1">
                    <a:lumMod val="75000"/>
                  </a:schemeClr>
                </a:solidFill>
                <a:latin typeface="Arial Bold" panose="020B0604020202020204" charset="0"/>
              </a:rPr>
              <a:t>Implementação</a:t>
            </a:r>
            <a:r>
              <a:rPr lang="en-US" sz="1200" b="1" spc="15" dirty="0">
                <a:solidFill>
                  <a:schemeClr val="accent1">
                    <a:lumMod val="75000"/>
                  </a:schemeClr>
                </a:solidFill>
                <a:latin typeface="Arial Bold"/>
              </a:rPr>
              <a:t> da PNOT</a:t>
            </a:r>
          </a:p>
        </p:txBody>
      </p:sp>
      <p:sp>
        <p:nvSpPr>
          <p:cNvPr id="45" name="Freeform 45"/>
          <p:cNvSpPr/>
          <p:nvPr/>
        </p:nvSpPr>
        <p:spPr>
          <a:xfrm>
            <a:off x="2244777" y="2046484"/>
            <a:ext cx="493274" cy="493274"/>
          </a:xfrm>
          <a:custGeom>
            <a:avLst/>
            <a:gdLst/>
            <a:ahLst/>
            <a:cxnLst/>
            <a:rect l="l" t="t" r="r" b="b"/>
            <a:pathLst>
              <a:path w="986549" h="986549">
                <a:moveTo>
                  <a:pt x="0" y="0"/>
                </a:moveTo>
                <a:lnTo>
                  <a:pt x="986549" y="0"/>
                </a:lnTo>
                <a:lnTo>
                  <a:pt x="986549" y="986549"/>
                </a:lnTo>
                <a:lnTo>
                  <a:pt x="0" y="98654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6" name="Freeform 46"/>
          <p:cNvSpPr/>
          <p:nvPr/>
        </p:nvSpPr>
        <p:spPr>
          <a:xfrm>
            <a:off x="3641968" y="2046484"/>
            <a:ext cx="493274" cy="493274"/>
          </a:xfrm>
          <a:custGeom>
            <a:avLst/>
            <a:gdLst/>
            <a:ahLst/>
            <a:cxnLst/>
            <a:rect l="l" t="t" r="r" b="b"/>
            <a:pathLst>
              <a:path w="986549" h="986549">
                <a:moveTo>
                  <a:pt x="0" y="0"/>
                </a:moveTo>
                <a:lnTo>
                  <a:pt x="986549" y="0"/>
                </a:lnTo>
                <a:lnTo>
                  <a:pt x="986549" y="986549"/>
                </a:lnTo>
                <a:lnTo>
                  <a:pt x="0" y="98654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7" name="Freeform 47"/>
          <p:cNvSpPr/>
          <p:nvPr/>
        </p:nvSpPr>
        <p:spPr>
          <a:xfrm>
            <a:off x="5051449" y="2041722"/>
            <a:ext cx="493274" cy="493274"/>
          </a:xfrm>
          <a:custGeom>
            <a:avLst/>
            <a:gdLst/>
            <a:ahLst/>
            <a:cxnLst/>
            <a:rect l="l" t="t" r="r" b="b"/>
            <a:pathLst>
              <a:path w="986549" h="986549">
                <a:moveTo>
                  <a:pt x="0" y="0"/>
                </a:moveTo>
                <a:lnTo>
                  <a:pt x="986550" y="0"/>
                </a:lnTo>
                <a:lnTo>
                  <a:pt x="986550" y="986549"/>
                </a:lnTo>
                <a:lnTo>
                  <a:pt x="0" y="98654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Freeform 48"/>
          <p:cNvSpPr/>
          <p:nvPr/>
        </p:nvSpPr>
        <p:spPr>
          <a:xfrm>
            <a:off x="6412618" y="2046484"/>
            <a:ext cx="493274" cy="493274"/>
          </a:xfrm>
          <a:custGeom>
            <a:avLst/>
            <a:gdLst/>
            <a:ahLst/>
            <a:cxnLst/>
            <a:rect l="l" t="t" r="r" b="b"/>
            <a:pathLst>
              <a:path w="986549" h="986549">
                <a:moveTo>
                  <a:pt x="0" y="0"/>
                </a:moveTo>
                <a:lnTo>
                  <a:pt x="986550" y="0"/>
                </a:lnTo>
                <a:lnTo>
                  <a:pt x="986550" y="986549"/>
                </a:lnTo>
                <a:lnTo>
                  <a:pt x="0" y="98654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Freeform 49"/>
          <p:cNvSpPr/>
          <p:nvPr/>
        </p:nvSpPr>
        <p:spPr>
          <a:xfrm>
            <a:off x="7839081" y="2046484"/>
            <a:ext cx="493274" cy="493274"/>
          </a:xfrm>
          <a:custGeom>
            <a:avLst/>
            <a:gdLst/>
            <a:ahLst/>
            <a:cxnLst/>
            <a:rect l="l" t="t" r="r" b="b"/>
            <a:pathLst>
              <a:path w="986549" h="986549">
                <a:moveTo>
                  <a:pt x="0" y="0"/>
                </a:moveTo>
                <a:lnTo>
                  <a:pt x="986550" y="0"/>
                </a:lnTo>
                <a:lnTo>
                  <a:pt x="986550" y="986549"/>
                </a:lnTo>
                <a:lnTo>
                  <a:pt x="0" y="98654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689E58D-7978-91B2-9F0C-C379CF46241A}"/>
              </a:ext>
            </a:extLst>
          </p:cNvPr>
          <p:cNvSpPr txBox="1">
            <a:spLocks/>
          </p:cNvSpPr>
          <p:nvPr/>
        </p:nvSpPr>
        <p:spPr>
          <a:xfrm>
            <a:off x="0" y="63563"/>
            <a:ext cx="9144000" cy="514076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Bebas Neue" panose="020B0606020202050201" pitchFamily="34" charset="0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Bebas Neue" panose="020B0606020202050201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Bebas Neue" panose="020B0606020202050201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Bebas Neue" panose="020B0606020202050201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Bebas Neue" panose="020B0606020202050201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Bebas Neue" panose="020B0606020202050201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Bebas Neue" panose="020B0606020202050201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Bebas Neue" panose="020B0606020202050201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Bebas Neue" panose="020B0606020202050201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sz="3000" b="1" cap="all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  <a:cs typeface="Arial" panose="020B0604020202020204" pitchFamily="34" charset="0"/>
              </a:rPr>
              <a:t>por onde vamos caminhar em 2024/25</a:t>
            </a:r>
          </a:p>
        </p:txBody>
      </p:sp>
    </p:spTree>
    <p:extLst>
      <p:ext uri="{BB962C8B-B14F-4D97-AF65-F5344CB8AC3E}">
        <p14:creationId xmlns:p14="http://schemas.microsoft.com/office/powerpoint/2010/main" val="31857738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17"/>
          <p:cNvSpPr txBox="1"/>
          <p:nvPr/>
        </p:nvSpPr>
        <p:spPr>
          <a:xfrm>
            <a:off x="311175" y="376294"/>
            <a:ext cx="8545635" cy="3988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7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  <a:ea typeface="Raleway Black"/>
                <a:cs typeface="Raleway Black"/>
                <a:sym typeface="Raleway Black"/>
              </a:rPr>
              <a:t>Devemos considerar que a PNOT parte de um contexto institucional, em que há diversos ordenamentos setoriais/</a:t>
            </a:r>
            <a:r>
              <a:rPr lang="en-US" sz="2700" b="1" dirty="0" err="1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  <a:ea typeface="Raleway Black"/>
                <a:cs typeface="Raleway Black"/>
                <a:sym typeface="Raleway Black"/>
              </a:rPr>
              <a:t>territoriais</a:t>
            </a:r>
            <a:r>
              <a:rPr lang="en-US" sz="27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  <a:ea typeface="Raleway Black"/>
                <a:cs typeface="Raleway Black"/>
                <a:sym typeface="Raleway Black"/>
              </a:rPr>
              <a:t>, formalizados por distintas legislações, de diferentes hierarquias, ou seja, já existem políticas/</a:t>
            </a:r>
            <a:r>
              <a:rPr lang="en-US" sz="2700" b="1" dirty="0" err="1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  <a:ea typeface="Raleway Black"/>
                <a:cs typeface="Raleway Black"/>
                <a:sym typeface="Raleway Black"/>
              </a:rPr>
              <a:t>programas</a:t>
            </a:r>
            <a:r>
              <a:rPr lang="en-US" sz="27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  <a:ea typeface="Raleway Black"/>
                <a:cs typeface="Raleway Black"/>
                <a:sym typeface="Raleway Black"/>
              </a:rPr>
              <a:t> e unidades de governo incidindo no território, o que revela muitos “ordenamentos e lógicas” sobrepostas.</a:t>
            </a:r>
            <a:endParaRPr sz="3000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endParaRPr>
          </a:p>
        </p:txBody>
      </p:sp>
      <p:sp>
        <p:nvSpPr>
          <p:cNvPr id="7" name="Freeform 7"/>
          <p:cNvSpPr/>
          <p:nvPr/>
        </p:nvSpPr>
        <p:spPr>
          <a:xfrm>
            <a:off x="7392336" y="4707623"/>
            <a:ext cx="1693957" cy="476426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52865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E031478-3CF7-4E47-B920-BC42E13F6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2791" y="11181"/>
            <a:ext cx="9143999" cy="958649"/>
          </a:xfrm>
        </p:spPr>
        <p:txBody>
          <a:bodyPr>
            <a:normAutofit/>
          </a:bodyPr>
          <a:lstStyle/>
          <a:p>
            <a:pPr algn="ctr"/>
            <a:r>
              <a:rPr lang="pt-BR" sz="27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  <a:cs typeface="Calibri"/>
                <a:sym typeface="Calibri"/>
              </a:rPr>
              <a:t>A DIMENSÃO TERRITORIAL NAS POLÍTICAS PÚBLICAS É UM WICKED PROBLEM</a:t>
            </a:r>
            <a:endParaRPr lang="pt-BR" sz="2700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endParaRP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D2AE29C-2408-41BA-853E-E815858249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7629" y="1831615"/>
            <a:ext cx="7499625" cy="2649898"/>
          </a:xfrm>
        </p:spPr>
        <p:txBody>
          <a:bodyPr/>
          <a:lstStyle/>
          <a:p>
            <a:pPr marL="85715" indent="0" algn="ctr">
              <a:buNone/>
            </a:pPr>
            <a:r>
              <a:rPr lang="pt-BR" sz="2100" dirty="0">
                <a:solidFill>
                  <a:schemeClr val="bg2"/>
                </a:solidFill>
              </a:rPr>
              <a:t> </a:t>
            </a:r>
            <a:r>
              <a:rPr lang="pt-BR" sz="21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Problemas de ordem estrutural/histórica, com resultados na dinâmica econômica e social</a:t>
            </a:r>
          </a:p>
          <a:p>
            <a:pPr marL="85715" indent="0" algn="ctr">
              <a:buNone/>
            </a:pPr>
            <a:r>
              <a:rPr lang="pt-BR" sz="21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Configuração territorial estabelecida, com alguns atores/políticas presidindo o uso do território</a:t>
            </a:r>
          </a:p>
        </p:txBody>
      </p:sp>
      <p:sp>
        <p:nvSpPr>
          <p:cNvPr id="4" name="Agriculture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7199800-E08C-4346-A673-E35E6BAE5AE2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885267" y="1237210"/>
            <a:ext cx="566183" cy="492086"/>
          </a:xfrm>
          <a:custGeom>
            <a:avLst/>
            <a:gdLst>
              <a:gd name="T0" fmla="*/ 159 w 622"/>
              <a:gd name="T1" fmla="*/ 125 h 541"/>
              <a:gd name="T2" fmla="*/ 79 w 622"/>
              <a:gd name="T3" fmla="*/ 199 h 541"/>
              <a:gd name="T4" fmla="*/ 110 w 622"/>
              <a:gd name="T5" fmla="*/ 249 h 541"/>
              <a:gd name="T6" fmla="*/ 85 w 622"/>
              <a:gd name="T7" fmla="*/ 222 h 541"/>
              <a:gd name="T8" fmla="*/ 119 w 622"/>
              <a:gd name="T9" fmla="*/ 70 h 541"/>
              <a:gd name="T10" fmla="*/ 59 w 622"/>
              <a:gd name="T11" fmla="*/ 70 h 541"/>
              <a:gd name="T12" fmla="*/ 59 w 622"/>
              <a:gd name="T13" fmla="*/ 70 h 541"/>
              <a:gd name="T14" fmla="*/ 37 w 622"/>
              <a:gd name="T15" fmla="*/ 102 h 541"/>
              <a:gd name="T16" fmla="*/ 67 w 622"/>
              <a:gd name="T17" fmla="*/ 126 h 541"/>
              <a:gd name="T18" fmla="*/ 74 w 622"/>
              <a:gd name="T19" fmla="*/ 134 h 541"/>
              <a:gd name="T20" fmla="*/ 81 w 622"/>
              <a:gd name="T21" fmla="*/ 140 h 541"/>
              <a:gd name="T22" fmla="*/ 91 w 622"/>
              <a:gd name="T23" fmla="*/ 144 h 541"/>
              <a:gd name="T24" fmla="*/ 123 w 622"/>
              <a:gd name="T25" fmla="*/ 165 h 541"/>
              <a:gd name="T26" fmla="*/ 147 w 622"/>
              <a:gd name="T27" fmla="*/ 134 h 541"/>
              <a:gd name="T28" fmla="*/ 128 w 622"/>
              <a:gd name="T29" fmla="*/ 77 h 541"/>
              <a:gd name="T30" fmla="*/ 128 w 622"/>
              <a:gd name="T31" fmla="*/ 77 h 541"/>
              <a:gd name="T32" fmla="*/ 149 w 622"/>
              <a:gd name="T33" fmla="*/ 425 h 541"/>
              <a:gd name="T34" fmla="*/ 306 w 622"/>
              <a:gd name="T35" fmla="*/ 367 h 541"/>
              <a:gd name="T36" fmla="*/ 240 w 622"/>
              <a:gd name="T37" fmla="*/ 358 h 541"/>
              <a:gd name="T38" fmla="*/ 407 w 622"/>
              <a:gd name="T39" fmla="*/ 402 h 541"/>
              <a:gd name="T40" fmla="*/ 130 w 622"/>
              <a:gd name="T41" fmla="*/ 480 h 541"/>
              <a:gd name="T42" fmla="*/ 118 w 622"/>
              <a:gd name="T43" fmla="*/ 530 h 541"/>
              <a:gd name="T44" fmla="*/ 317 w 622"/>
              <a:gd name="T45" fmla="*/ 474 h 541"/>
              <a:gd name="T46" fmla="*/ 241 w 622"/>
              <a:gd name="T47" fmla="*/ 454 h 541"/>
              <a:gd name="T48" fmla="*/ 432 w 622"/>
              <a:gd name="T49" fmla="*/ 530 h 541"/>
              <a:gd name="T50" fmla="*/ 213 w 622"/>
              <a:gd name="T51" fmla="*/ 353 h 541"/>
              <a:gd name="T52" fmla="*/ 326 w 622"/>
              <a:gd name="T53" fmla="*/ 357 h 541"/>
              <a:gd name="T54" fmla="*/ 47 w 622"/>
              <a:gd name="T55" fmla="*/ 538 h 541"/>
              <a:gd name="T56" fmla="*/ 505 w 622"/>
              <a:gd name="T57" fmla="*/ 541 h 541"/>
              <a:gd name="T58" fmla="*/ 612 w 622"/>
              <a:gd name="T59" fmla="*/ 373 h 541"/>
              <a:gd name="T60" fmla="*/ 497 w 622"/>
              <a:gd name="T61" fmla="*/ 412 h 541"/>
              <a:gd name="T62" fmla="*/ 522 w 622"/>
              <a:gd name="T63" fmla="*/ 498 h 541"/>
              <a:gd name="T64" fmla="*/ 526 w 622"/>
              <a:gd name="T65" fmla="*/ 528 h 541"/>
              <a:gd name="T66" fmla="*/ 9 w 622"/>
              <a:gd name="T67" fmla="*/ 518 h 541"/>
              <a:gd name="T68" fmla="*/ 9 w 622"/>
              <a:gd name="T69" fmla="*/ 373 h 541"/>
              <a:gd name="T70" fmla="*/ 0 w 622"/>
              <a:gd name="T71" fmla="*/ 402 h 541"/>
              <a:gd name="T72" fmla="*/ 9 w 622"/>
              <a:gd name="T73" fmla="*/ 436 h 541"/>
              <a:gd name="T74" fmla="*/ 24 w 622"/>
              <a:gd name="T75" fmla="*/ 479 h 541"/>
              <a:gd name="T76" fmla="*/ 118 w 622"/>
              <a:gd name="T77" fmla="*/ 257 h 541"/>
              <a:gd name="T78" fmla="*/ 124 w 622"/>
              <a:gd name="T79" fmla="*/ 322 h 541"/>
              <a:gd name="T80" fmla="*/ 255 w 622"/>
              <a:gd name="T81" fmla="*/ 270 h 541"/>
              <a:gd name="T82" fmla="*/ 291 w 622"/>
              <a:gd name="T83" fmla="*/ 244 h 541"/>
              <a:gd name="T84" fmla="*/ 162 w 622"/>
              <a:gd name="T85" fmla="*/ 316 h 541"/>
              <a:gd name="T86" fmla="*/ 191 w 622"/>
              <a:gd name="T87" fmla="*/ 209 h 541"/>
              <a:gd name="T88" fmla="*/ 506 w 622"/>
              <a:gd name="T89" fmla="*/ 322 h 541"/>
              <a:gd name="T90" fmla="*/ 39 w 622"/>
              <a:gd name="T91" fmla="*/ 321 h 541"/>
              <a:gd name="T92" fmla="*/ 93 w 622"/>
              <a:gd name="T93" fmla="*/ 185 h 541"/>
              <a:gd name="T94" fmla="*/ 214 w 622"/>
              <a:gd name="T95" fmla="*/ 164 h 541"/>
              <a:gd name="T96" fmla="*/ 378 w 622"/>
              <a:gd name="T97" fmla="*/ 322 h 541"/>
              <a:gd name="T98" fmla="*/ 401 w 622"/>
              <a:gd name="T99" fmla="*/ 50 h 541"/>
              <a:gd name="T100" fmla="*/ 493 w 622"/>
              <a:gd name="T101" fmla="*/ 42 h 541"/>
              <a:gd name="T102" fmla="*/ 483 w 622"/>
              <a:gd name="T103" fmla="*/ 124 h 541"/>
              <a:gd name="T104" fmla="*/ 448 w 622"/>
              <a:gd name="T105" fmla="*/ 322 h 541"/>
              <a:gd name="T106" fmla="*/ 482 w 622"/>
              <a:gd name="T107" fmla="*/ 282 h 541"/>
              <a:gd name="T108" fmla="*/ 455 w 622"/>
              <a:gd name="T109" fmla="*/ 163 h 541"/>
              <a:gd name="T110" fmla="*/ 448 w 622"/>
              <a:gd name="T111" fmla="*/ 200 h 541"/>
              <a:gd name="T112" fmla="*/ 488 w 622"/>
              <a:gd name="T113" fmla="*/ 275 h 541"/>
              <a:gd name="T114" fmla="*/ 403 w 622"/>
              <a:gd name="T115" fmla="*/ 213 h 541"/>
              <a:gd name="T116" fmla="*/ 462 w 622"/>
              <a:gd name="T117" fmla="*/ 144 h 541"/>
              <a:gd name="T118" fmla="*/ 413 w 622"/>
              <a:gd name="T119" fmla="*/ 153 h 541"/>
              <a:gd name="T120" fmla="*/ 105 w 622"/>
              <a:gd name="T121" fmla="*/ 120 h 541"/>
              <a:gd name="T122" fmla="*/ 89 w 622"/>
              <a:gd name="T123" fmla="*/ 113 h 5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22" h="541">
                <a:moveTo>
                  <a:pt x="163" y="110"/>
                </a:moveTo>
                <a:cubicBezTo>
                  <a:pt x="176" y="106"/>
                  <a:pt x="189" y="105"/>
                  <a:pt x="201" y="105"/>
                </a:cubicBezTo>
                <a:cubicBezTo>
                  <a:pt x="203" y="105"/>
                  <a:pt x="205" y="107"/>
                  <a:pt x="205" y="109"/>
                </a:cubicBezTo>
                <a:cubicBezTo>
                  <a:pt x="208" y="118"/>
                  <a:pt x="207" y="126"/>
                  <a:pt x="205" y="133"/>
                </a:cubicBezTo>
                <a:cubicBezTo>
                  <a:pt x="205" y="135"/>
                  <a:pt x="203" y="137"/>
                  <a:pt x="201" y="137"/>
                </a:cubicBezTo>
                <a:cubicBezTo>
                  <a:pt x="189" y="138"/>
                  <a:pt x="176" y="137"/>
                  <a:pt x="163" y="133"/>
                </a:cubicBezTo>
                <a:cubicBezTo>
                  <a:pt x="161" y="132"/>
                  <a:pt x="159" y="131"/>
                  <a:pt x="159" y="129"/>
                </a:cubicBezTo>
                <a:lnTo>
                  <a:pt x="159" y="125"/>
                </a:lnTo>
                <a:lnTo>
                  <a:pt x="152" y="125"/>
                </a:lnTo>
                <a:cubicBezTo>
                  <a:pt x="152" y="124"/>
                  <a:pt x="152" y="122"/>
                  <a:pt x="152" y="121"/>
                </a:cubicBezTo>
                <a:cubicBezTo>
                  <a:pt x="152" y="120"/>
                  <a:pt x="152" y="119"/>
                  <a:pt x="152" y="118"/>
                </a:cubicBezTo>
                <a:lnTo>
                  <a:pt x="159" y="118"/>
                </a:lnTo>
                <a:lnTo>
                  <a:pt x="159" y="114"/>
                </a:lnTo>
                <a:cubicBezTo>
                  <a:pt x="159" y="111"/>
                  <a:pt x="161" y="110"/>
                  <a:pt x="163" y="110"/>
                </a:cubicBezTo>
                <a:close/>
                <a:moveTo>
                  <a:pt x="89" y="189"/>
                </a:moveTo>
                <a:lnTo>
                  <a:pt x="79" y="199"/>
                </a:lnTo>
                <a:lnTo>
                  <a:pt x="99" y="199"/>
                </a:lnTo>
                <a:lnTo>
                  <a:pt x="89" y="189"/>
                </a:lnTo>
                <a:close/>
                <a:moveTo>
                  <a:pt x="89" y="218"/>
                </a:moveTo>
                <a:lnTo>
                  <a:pt x="101" y="205"/>
                </a:lnTo>
                <a:lnTo>
                  <a:pt x="77" y="205"/>
                </a:lnTo>
                <a:lnTo>
                  <a:pt x="89" y="218"/>
                </a:lnTo>
                <a:close/>
                <a:moveTo>
                  <a:pt x="68" y="249"/>
                </a:moveTo>
                <a:lnTo>
                  <a:pt x="110" y="249"/>
                </a:lnTo>
                <a:lnTo>
                  <a:pt x="89" y="227"/>
                </a:lnTo>
                <a:lnTo>
                  <a:pt x="68" y="249"/>
                </a:lnTo>
                <a:close/>
                <a:moveTo>
                  <a:pt x="111" y="255"/>
                </a:moveTo>
                <a:lnTo>
                  <a:pt x="67" y="255"/>
                </a:lnTo>
                <a:lnTo>
                  <a:pt x="89" y="273"/>
                </a:lnTo>
                <a:lnTo>
                  <a:pt x="111" y="255"/>
                </a:lnTo>
                <a:close/>
                <a:moveTo>
                  <a:pt x="63" y="245"/>
                </a:moveTo>
                <a:lnTo>
                  <a:pt x="85" y="222"/>
                </a:lnTo>
                <a:lnTo>
                  <a:pt x="72" y="209"/>
                </a:lnTo>
                <a:lnTo>
                  <a:pt x="63" y="245"/>
                </a:lnTo>
                <a:close/>
                <a:moveTo>
                  <a:pt x="49" y="306"/>
                </a:moveTo>
                <a:lnTo>
                  <a:pt x="84" y="277"/>
                </a:lnTo>
                <a:lnTo>
                  <a:pt x="60" y="257"/>
                </a:lnTo>
                <a:lnTo>
                  <a:pt x="49" y="306"/>
                </a:lnTo>
                <a:close/>
                <a:moveTo>
                  <a:pt x="95" y="63"/>
                </a:moveTo>
                <a:cubicBezTo>
                  <a:pt x="104" y="63"/>
                  <a:pt x="112" y="66"/>
                  <a:pt x="119" y="70"/>
                </a:cubicBezTo>
                <a:cubicBezTo>
                  <a:pt x="120" y="71"/>
                  <a:pt x="122" y="73"/>
                  <a:pt x="120" y="76"/>
                </a:cubicBezTo>
                <a:cubicBezTo>
                  <a:pt x="113" y="84"/>
                  <a:pt x="107" y="93"/>
                  <a:pt x="101" y="102"/>
                </a:cubicBezTo>
                <a:cubicBezTo>
                  <a:pt x="100" y="103"/>
                  <a:pt x="99" y="104"/>
                  <a:pt x="97" y="103"/>
                </a:cubicBezTo>
                <a:cubicBezTo>
                  <a:pt x="96" y="102"/>
                  <a:pt x="95" y="102"/>
                  <a:pt x="93" y="102"/>
                </a:cubicBezTo>
                <a:cubicBezTo>
                  <a:pt x="91" y="101"/>
                  <a:pt x="92" y="101"/>
                  <a:pt x="92" y="99"/>
                </a:cubicBezTo>
                <a:lnTo>
                  <a:pt x="92" y="66"/>
                </a:lnTo>
                <a:cubicBezTo>
                  <a:pt x="92" y="64"/>
                  <a:pt x="93" y="62"/>
                  <a:pt x="95" y="63"/>
                </a:cubicBezTo>
                <a:close/>
                <a:moveTo>
                  <a:pt x="59" y="70"/>
                </a:moveTo>
                <a:cubicBezTo>
                  <a:pt x="67" y="66"/>
                  <a:pt x="75" y="63"/>
                  <a:pt x="83" y="62"/>
                </a:cubicBezTo>
                <a:cubicBezTo>
                  <a:pt x="85" y="62"/>
                  <a:pt x="87" y="63"/>
                  <a:pt x="87" y="66"/>
                </a:cubicBezTo>
                <a:lnTo>
                  <a:pt x="87" y="99"/>
                </a:lnTo>
                <a:cubicBezTo>
                  <a:pt x="87" y="100"/>
                  <a:pt x="87" y="101"/>
                  <a:pt x="85" y="102"/>
                </a:cubicBezTo>
                <a:cubicBezTo>
                  <a:pt x="84" y="102"/>
                  <a:pt x="82" y="102"/>
                  <a:pt x="81" y="103"/>
                </a:cubicBezTo>
                <a:cubicBezTo>
                  <a:pt x="79" y="104"/>
                  <a:pt x="79" y="103"/>
                  <a:pt x="78" y="102"/>
                </a:cubicBezTo>
                <a:cubicBezTo>
                  <a:pt x="72" y="93"/>
                  <a:pt x="65" y="84"/>
                  <a:pt x="59" y="75"/>
                </a:cubicBezTo>
                <a:cubicBezTo>
                  <a:pt x="57" y="73"/>
                  <a:pt x="58" y="72"/>
                  <a:pt x="59" y="70"/>
                </a:cubicBezTo>
                <a:close/>
                <a:moveTo>
                  <a:pt x="35" y="98"/>
                </a:moveTo>
                <a:cubicBezTo>
                  <a:pt x="39" y="90"/>
                  <a:pt x="44" y="83"/>
                  <a:pt x="50" y="77"/>
                </a:cubicBezTo>
                <a:cubicBezTo>
                  <a:pt x="51" y="76"/>
                  <a:pt x="53" y="75"/>
                  <a:pt x="55" y="78"/>
                </a:cubicBezTo>
                <a:cubicBezTo>
                  <a:pt x="62" y="87"/>
                  <a:pt x="68" y="95"/>
                  <a:pt x="74" y="104"/>
                </a:cubicBezTo>
                <a:cubicBezTo>
                  <a:pt x="75" y="105"/>
                  <a:pt x="76" y="106"/>
                  <a:pt x="74" y="108"/>
                </a:cubicBezTo>
                <a:cubicBezTo>
                  <a:pt x="73" y="109"/>
                  <a:pt x="73" y="110"/>
                  <a:pt x="72" y="111"/>
                </a:cubicBezTo>
                <a:cubicBezTo>
                  <a:pt x="71" y="113"/>
                  <a:pt x="70" y="112"/>
                  <a:pt x="69" y="112"/>
                </a:cubicBezTo>
                <a:cubicBezTo>
                  <a:pt x="58" y="109"/>
                  <a:pt x="48" y="105"/>
                  <a:pt x="37" y="102"/>
                </a:cubicBezTo>
                <a:cubicBezTo>
                  <a:pt x="35" y="101"/>
                  <a:pt x="34" y="100"/>
                  <a:pt x="35" y="98"/>
                </a:cubicBezTo>
                <a:close/>
                <a:moveTo>
                  <a:pt x="32" y="134"/>
                </a:moveTo>
                <a:cubicBezTo>
                  <a:pt x="30" y="125"/>
                  <a:pt x="30" y="117"/>
                  <a:pt x="31" y="109"/>
                </a:cubicBezTo>
                <a:cubicBezTo>
                  <a:pt x="32" y="107"/>
                  <a:pt x="33" y="105"/>
                  <a:pt x="36" y="106"/>
                </a:cubicBezTo>
                <a:cubicBezTo>
                  <a:pt x="47" y="109"/>
                  <a:pt x="57" y="113"/>
                  <a:pt x="67" y="116"/>
                </a:cubicBezTo>
                <a:cubicBezTo>
                  <a:pt x="69" y="117"/>
                  <a:pt x="69" y="117"/>
                  <a:pt x="69" y="119"/>
                </a:cubicBezTo>
                <a:cubicBezTo>
                  <a:pt x="69" y="120"/>
                  <a:pt x="69" y="122"/>
                  <a:pt x="69" y="123"/>
                </a:cubicBezTo>
                <a:cubicBezTo>
                  <a:pt x="69" y="125"/>
                  <a:pt x="69" y="125"/>
                  <a:pt x="67" y="126"/>
                </a:cubicBezTo>
                <a:cubicBezTo>
                  <a:pt x="57" y="129"/>
                  <a:pt x="46" y="133"/>
                  <a:pt x="36" y="136"/>
                </a:cubicBezTo>
                <a:cubicBezTo>
                  <a:pt x="34" y="137"/>
                  <a:pt x="32" y="136"/>
                  <a:pt x="32" y="134"/>
                </a:cubicBezTo>
                <a:close/>
                <a:moveTo>
                  <a:pt x="50" y="165"/>
                </a:moveTo>
                <a:cubicBezTo>
                  <a:pt x="43" y="160"/>
                  <a:pt x="38" y="153"/>
                  <a:pt x="35" y="145"/>
                </a:cubicBezTo>
                <a:cubicBezTo>
                  <a:pt x="35" y="144"/>
                  <a:pt x="34" y="141"/>
                  <a:pt x="37" y="140"/>
                </a:cubicBezTo>
                <a:cubicBezTo>
                  <a:pt x="48" y="137"/>
                  <a:pt x="58" y="133"/>
                  <a:pt x="68" y="130"/>
                </a:cubicBezTo>
                <a:cubicBezTo>
                  <a:pt x="70" y="129"/>
                  <a:pt x="71" y="129"/>
                  <a:pt x="72" y="131"/>
                </a:cubicBezTo>
                <a:cubicBezTo>
                  <a:pt x="72" y="132"/>
                  <a:pt x="73" y="133"/>
                  <a:pt x="74" y="134"/>
                </a:cubicBezTo>
                <a:cubicBezTo>
                  <a:pt x="75" y="136"/>
                  <a:pt x="75" y="137"/>
                  <a:pt x="74" y="138"/>
                </a:cubicBezTo>
                <a:cubicBezTo>
                  <a:pt x="68" y="147"/>
                  <a:pt x="61" y="156"/>
                  <a:pt x="55" y="165"/>
                </a:cubicBezTo>
                <a:cubicBezTo>
                  <a:pt x="53" y="166"/>
                  <a:pt x="52" y="167"/>
                  <a:pt x="50" y="165"/>
                </a:cubicBezTo>
                <a:close/>
                <a:moveTo>
                  <a:pt x="83" y="180"/>
                </a:moveTo>
                <a:cubicBezTo>
                  <a:pt x="75" y="179"/>
                  <a:pt x="67" y="176"/>
                  <a:pt x="59" y="172"/>
                </a:cubicBezTo>
                <a:cubicBezTo>
                  <a:pt x="58" y="172"/>
                  <a:pt x="56" y="169"/>
                  <a:pt x="58" y="167"/>
                </a:cubicBezTo>
                <a:cubicBezTo>
                  <a:pt x="65" y="158"/>
                  <a:pt x="71" y="149"/>
                  <a:pt x="77" y="140"/>
                </a:cubicBezTo>
                <a:cubicBezTo>
                  <a:pt x="78" y="139"/>
                  <a:pt x="79" y="138"/>
                  <a:pt x="81" y="140"/>
                </a:cubicBezTo>
                <a:cubicBezTo>
                  <a:pt x="82" y="140"/>
                  <a:pt x="83" y="141"/>
                  <a:pt x="85" y="141"/>
                </a:cubicBezTo>
                <a:cubicBezTo>
                  <a:pt x="87" y="141"/>
                  <a:pt x="87" y="142"/>
                  <a:pt x="87" y="143"/>
                </a:cubicBezTo>
                <a:lnTo>
                  <a:pt x="87" y="177"/>
                </a:lnTo>
                <a:cubicBezTo>
                  <a:pt x="87" y="179"/>
                  <a:pt x="85" y="180"/>
                  <a:pt x="83" y="180"/>
                </a:cubicBezTo>
                <a:close/>
                <a:moveTo>
                  <a:pt x="119" y="172"/>
                </a:moveTo>
                <a:cubicBezTo>
                  <a:pt x="111" y="177"/>
                  <a:pt x="103" y="179"/>
                  <a:pt x="95" y="180"/>
                </a:cubicBezTo>
                <a:cubicBezTo>
                  <a:pt x="94" y="180"/>
                  <a:pt x="91" y="179"/>
                  <a:pt x="91" y="176"/>
                </a:cubicBezTo>
                <a:cubicBezTo>
                  <a:pt x="91" y="165"/>
                  <a:pt x="91" y="154"/>
                  <a:pt x="91" y="144"/>
                </a:cubicBezTo>
                <a:cubicBezTo>
                  <a:pt x="91" y="142"/>
                  <a:pt x="91" y="141"/>
                  <a:pt x="93" y="141"/>
                </a:cubicBezTo>
                <a:cubicBezTo>
                  <a:pt x="94" y="141"/>
                  <a:pt x="96" y="140"/>
                  <a:pt x="97" y="140"/>
                </a:cubicBezTo>
                <a:cubicBezTo>
                  <a:pt x="99" y="139"/>
                  <a:pt x="99" y="139"/>
                  <a:pt x="100" y="141"/>
                </a:cubicBezTo>
                <a:cubicBezTo>
                  <a:pt x="107" y="150"/>
                  <a:pt x="113" y="159"/>
                  <a:pt x="120" y="167"/>
                </a:cubicBezTo>
                <a:cubicBezTo>
                  <a:pt x="121" y="169"/>
                  <a:pt x="121" y="171"/>
                  <a:pt x="119" y="172"/>
                </a:cubicBezTo>
                <a:close/>
                <a:moveTo>
                  <a:pt x="143" y="145"/>
                </a:moveTo>
                <a:cubicBezTo>
                  <a:pt x="140" y="153"/>
                  <a:pt x="135" y="160"/>
                  <a:pt x="128" y="165"/>
                </a:cubicBezTo>
                <a:cubicBezTo>
                  <a:pt x="127" y="166"/>
                  <a:pt x="125" y="167"/>
                  <a:pt x="123" y="165"/>
                </a:cubicBezTo>
                <a:cubicBezTo>
                  <a:pt x="117" y="156"/>
                  <a:pt x="110" y="147"/>
                  <a:pt x="104" y="138"/>
                </a:cubicBezTo>
                <a:cubicBezTo>
                  <a:pt x="103" y="137"/>
                  <a:pt x="102" y="136"/>
                  <a:pt x="104" y="135"/>
                </a:cubicBezTo>
                <a:cubicBezTo>
                  <a:pt x="105" y="134"/>
                  <a:pt x="106" y="133"/>
                  <a:pt x="106" y="131"/>
                </a:cubicBezTo>
                <a:cubicBezTo>
                  <a:pt x="107" y="130"/>
                  <a:pt x="108" y="130"/>
                  <a:pt x="109" y="130"/>
                </a:cubicBezTo>
                <a:cubicBezTo>
                  <a:pt x="120" y="134"/>
                  <a:pt x="130" y="137"/>
                  <a:pt x="141" y="141"/>
                </a:cubicBezTo>
                <a:cubicBezTo>
                  <a:pt x="143" y="141"/>
                  <a:pt x="144" y="143"/>
                  <a:pt x="143" y="145"/>
                </a:cubicBezTo>
                <a:close/>
                <a:moveTo>
                  <a:pt x="147" y="109"/>
                </a:moveTo>
                <a:cubicBezTo>
                  <a:pt x="149" y="117"/>
                  <a:pt x="149" y="126"/>
                  <a:pt x="147" y="134"/>
                </a:cubicBezTo>
                <a:cubicBezTo>
                  <a:pt x="146" y="135"/>
                  <a:pt x="145" y="137"/>
                  <a:pt x="142" y="136"/>
                </a:cubicBezTo>
                <a:cubicBezTo>
                  <a:pt x="132" y="133"/>
                  <a:pt x="121" y="130"/>
                  <a:pt x="111" y="126"/>
                </a:cubicBezTo>
                <a:cubicBezTo>
                  <a:pt x="110" y="126"/>
                  <a:pt x="109" y="126"/>
                  <a:pt x="109" y="123"/>
                </a:cubicBezTo>
                <a:cubicBezTo>
                  <a:pt x="109" y="122"/>
                  <a:pt x="109" y="121"/>
                  <a:pt x="109" y="119"/>
                </a:cubicBezTo>
                <a:cubicBezTo>
                  <a:pt x="109" y="117"/>
                  <a:pt x="110" y="117"/>
                  <a:pt x="111" y="117"/>
                </a:cubicBezTo>
                <a:cubicBezTo>
                  <a:pt x="121" y="113"/>
                  <a:pt x="132" y="110"/>
                  <a:pt x="143" y="106"/>
                </a:cubicBezTo>
                <a:cubicBezTo>
                  <a:pt x="144" y="106"/>
                  <a:pt x="146" y="107"/>
                  <a:pt x="147" y="109"/>
                </a:cubicBezTo>
                <a:close/>
                <a:moveTo>
                  <a:pt x="128" y="77"/>
                </a:moveTo>
                <a:cubicBezTo>
                  <a:pt x="135" y="83"/>
                  <a:pt x="140" y="90"/>
                  <a:pt x="143" y="97"/>
                </a:cubicBezTo>
                <a:cubicBezTo>
                  <a:pt x="144" y="99"/>
                  <a:pt x="144" y="101"/>
                  <a:pt x="141" y="102"/>
                </a:cubicBezTo>
                <a:cubicBezTo>
                  <a:pt x="130" y="106"/>
                  <a:pt x="120" y="109"/>
                  <a:pt x="110" y="112"/>
                </a:cubicBezTo>
                <a:cubicBezTo>
                  <a:pt x="108" y="113"/>
                  <a:pt x="108" y="113"/>
                  <a:pt x="107" y="111"/>
                </a:cubicBezTo>
                <a:cubicBezTo>
                  <a:pt x="106" y="110"/>
                  <a:pt x="105" y="109"/>
                  <a:pt x="104" y="108"/>
                </a:cubicBezTo>
                <a:cubicBezTo>
                  <a:pt x="103" y="107"/>
                  <a:pt x="103" y="106"/>
                  <a:pt x="104" y="105"/>
                </a:cubicBezTo>
                <a:cubicBezTo>
                  <a:pt x="111" y="96"/>
                  <a:pt x="117" y="87"/>
                  <a:pt x="124" y="78"/>
                </a:cubicBezTo>
                <a:cubicBezTo>
                  <a:pt x="125" y="76"/>
                  <a:pt x="127" y="76"/>
                  <a:pt x="128" y="77"/>
                </a:cubicBezTo>
                <a:close/>
                <a:moveTo>
                  <a:pt x="152" y="376"/>
                </a:moveTo>
                <a:lnTo>
                  <a:pt x="153" y="375"/>
                </a:lnTo>
                <a:cubicBezTo>
                  <a:pt x="160" y="368"/>
                  <a:pt x="170" y="367"/>
                  <a:pt x="179" y="367"/>
                </a:cubicBezTo>
                <a:cubicBezTo>
                  <a:pt x="179" y="367"/>
                  <a:pt x="183" y="367"/>
                  <a:pt x="183" y="371"/>
                </a:cubicBezTo>
                <a:cubicBezTo>
                  <a:pt x="183" y="382"/>
                  <a:pt x="180" y="390"/>
                  <a:pt x="174" y="395"/>
                </a:cubicBezTo>
                <a:cubicBezTo>
                  <a:pt x="170" y="400"/>
                  <a:pt x="164" y="402"/>
                  <a:pt x="156" y="402"/>
                </a:cubicBezTo>
                <a:lnTo>
                  <a:pt x="156" y="418"/>
                </a:lnTo>
                <a:cubicBezTo>
                  <a:pt x="156" y="422"/>
                  <a:pt x="153" y="425"/>
                  <a:pt x="149" y="425"/>
                </a:cubicBezTo>
                <a:cubicBezTo>
                  <a:pt x="146" y="425"/>
                  <a:pt x="143" y="422"/>
                  <a:pt x="143" y="418"/>
                </a:cubicBezTo>
                <a:lnTo>
                  <a:pt x="143" y="393"/>
                </a:lnTo>
                <a:cubicBezTo>
                  <a:pt x="123" y="391"/>
                  <a:pt x="113" y="380"/>
                  <a:pt x="113" y="358"/>
                </a:cubicBezTo>
                <a:cubicBezTo>
                  <a:pt x="113" y="354"/>
                  <a:pt x="116" y="354"/>
                  <a:pt x="118" y="354"/>
                </a:cubicBezTo>
                <a:cubicBezTo>
                  <a:pt x="137" y="354"/>
                  <a:pt x="149" y="361"/>
                  <a:pt x="152" y="376"/>
                </a:cubicBezTo>
                <a:close/>
                <a:moveTo>
                  <a:pt x="280" y="376"/>
                </a:moveTo>
                <a:lnTo>
                  <a:pt x="281" y="375"/>
                </a:lnTo>
                <a:cubicBezTo>
                  <a:pt x="287" y="368"/>
                  <a:pt x="297" y="367"/>
                  <a:pt x="306" y="367"/>
                </a:cubicBezTo>
                <a:cubicBezTo>
                  <a:pt x="306" y="367"/>
                  <a:pt x="310" y="367"/>
                  <a:pt x="310" y="371"/>
                </a:cubicBezTo>
                <a:cubicBezTo>
                  <a:pt x="311" y="382"/>
                  <a:pt x="308" y="390"/>
                  <a:pt x="302" y="395"/>
                </a:cubicBezTo>
                <a:cubicBezTo>
                  <a:pt x="297" y="400"/>
                  <a:pt x="291" y="402"/>
                  <a:pt x="284" y="402"/>
                </a:cubicBezTo>
                <a:lnTo>
                  <a:pt x="284" y="418"/>
                </a:lnTo>
                <a:cubicBezTo>
                  <a:pt x="284" y="422"/>
                  <a:pt x="281" y="425"/>
                  <a:pt x="277" y="425"/>
                </a:cubicBezTo>
                <a:cubicBezTo>
                  <a:pt x="273" y="425"/>
                  <a:pt x="270" y="422"/>
                  <a:pt x="270" y="418"/>
                </a:cubicBezTo>
                <a:lnTo>
                  <a:pt x="270" y="393"/>
                </a:lnTo>
                <a:cubicBezTo>
                  <a:pt x="251" y="391"/>
                  <a:pt x="240" y="380"/>
                  <a:pt x="240" y="358"/>
                </a:cubicBezTo>
                <a:cubicBezTo>
                  <a:pt x="240" y="354"/>
                  <a:pt x="243" y="354"/>
                  <a:pt x="246" y="354"/>
                </a:cubicBezTo>
                <a:cubicBezTo>
                  <a:pt x="264" y="354"/>
                  <a:pt x="276" y="361"/>
                  <a:pt x="280" y="376"/>
                </a:cubicBezTo>
                <a:close/>
                <a:moveTo>
                  <a:pt x="403" y="376"/>
                </a:moveTo>
                <a:lnTo>
                  <a:pt x="403" y="375"/>
                </a:lnTo>
                <a:cubicBezTo>
                  <a:pt x="410" y="368"/>
                  <a:pt x="420" y="367"/>
                  <a:pt x="429" y="367"/>
                </a:cubicBezTo>
                <a:cubicBezTo>
                  <a:pt x="429" y="367"/>
                  <a:pt x="433" y="367"/>
                  <a:pt x="433" y="371"/>
                </a:cubicBezTo>
                <a:cubicBezTo>
                  <a:pt x="433" y="382"/>
                  <a:pt x="430" y="390"/>
                  <a:pt x="425" y="395"/>
                </a:cubicBezTo>
                <a:cubicBezTo>
                  <a:pt x="420" y="400"/>
                  <a:pt x="414" y="402"/>
                  <a:pt x="407" y="402"/>
                </a:cubicBezTo>
                <a:lnTo>
                  <a:pt x="407" y="418"/>
                </a:lnTo>
                <a:cubicBezTo>
                  <a:pt x="407" y="422"/>
                  <a:pt x="404" y="425"/>
                  <a:pt x="400" y="425"/>
                </a:cubicBezTo>
                <a:cubicBezTo>
                  <a:pt x="396" y="425"/>
                  <a:pt x="393" y="422"/>
                  <a:pt x="393" y="418"/>
                </a:cubicBezTo>
                <a:lnTo>
                  <a:pt x="393" y="393"/>
                </a:lnTo>
                <a:cubicBezTo>
                  <a:pt x="373" y="391"/>
                  <a:pt x="363" y="380"/>
                  <a:pt x="363" y="358"/>
                </a:cubicBezTo>
                <a:cubicBezTo>
                  <a:pt x="363" y="354"/>
                  <a:pt x="366" y="354"/>
                  <a:pt x="369" y="354"/>
                </a:cubicBezTo>
                <a:cubicBezTo>
                  <a:pt x="387" y="354"/>
                  <a:pt x="399" y="361"/>
                  <a:pt x="403" y="376"/>
                </a:cubicBezTo>
                <a:close/>
                <a:moveTo>
                  <a:pt x="130" y="480"/>
                </a:moveTo>
                <a:lnTo>
                  <a:pt x="131" y="479"/>
                </a:lnTo>
                <a:cubicBezTo>
                  <a:pt x="139" y="471"/>
                  <a:pt x="150" y="469"/>
                  <a:pt x="161" y="469"/>
                </a:cubicBezTo>
                <a:cubicBezTo>
                  <a:pt x="161" y="469"/>
                  <a:pt x="166" y="469"/>
                  <a:pt x="166" y="474"/>
                </a:cubicBezTo>
                <a:cubicBezTo>
                  <a:pt x="166" y="487"/>
                  <a:pt x="162" y="496"/>
                  <a:pt x="155" y="503"/>
                </a:cubicBezTo>
                <a:cubicBezTo>
                  <a:pt x="150" y="507"/>
                  <a:pt x="143" y="510"/>
                  <a:pt x="134" y="511"/>
                </a:cubicBezTo>
                <a:lnTo>
                  <a:pt x="134" y="530"/>
                </a:lnTo>
                <a:cubicBezTo>
                  <a:pt x="134" y="534"/>
                  <a:pt x="131" y="538"/>
                  <a:pt x="126" y="538"/>
                </a:cubicBezTo>
                <a:cubicBezTo>
                  <a:pt x="122" y="538"/>
                  <a:pt x="118" y="534"/>
                  <a:pt x="118" y="530"/>
                </a:cubicBezTo>
                <a:lnTo>
                  <a:pt x="118" y="499"/>
                </a:lnTo>
                <a:cubicBezTo>
                  <a:pt x="95" y="497"/>
                  <a:pt x="83" y="484"/>
                  <a:pt x="83" y="458"/>
                </a:cubicBezTo>
                <a:cubicBezTo>
                  <a:pt x="83" y="454"/>
                  <a:pt x="87" y="454"/>
                  <a:pt x="90" y="454"/>
                </a:cubicBezTo>
                <a:cubicBezTo>
                  <a:pt x="112" y="454"/>
                  <a:pt x="125" y="462"/>
                  <a:pt x="130" y="480"/>
                </a:cubicBezTo>
                <a:close/>
                <a:moveTo>
                  <a:pt x="281" y="480"/>
                </a:moveTo>
                <a:lnTo>
                  <a:pt x="281" y="479"/>
                </a:lnTo>
                <a:cubicBezTo>
                  <a:pt x="289" y="471"/>
                  <a:pt x="301" y="469"/>
                  <a:pt x="312" y="469"/>
                </a:cubicBezTo>
                <a:cubicBezTo>
                  <a:pt x="312" y="469"/>
                  <a:pt x="317" y="469"/>
                  <a:pt x="317" y="474"/>
                </a:cubicBezTo>
                <a:cubicBezTo>
                  <a:pt x="317" y="487"/>
                  <a:pt x="313" y="496"/>
                  <a:pt x="306" y="503"/>
                </a:cubicBezTo>
                <a:cubicBezTo>
                  <a:pt x="301" y="507"/>
                  <a:pt x="294" y="510"/>
                  <a:pt x="285" y="511"/>
                </a:cubicBezTo>
                <a:lnTo>
                  <a:pt x="285" y="530"/>
                </a:lnTo>
                <a:cubicBezTo>
                  <a:pt x="285" y="534"/>
                  <a:pt x="282" y="538"/>
                  <a:pt x="277" y="538"/>
                </a:cubicBezTo>
                <a:cubicBezTo>
                  <a:pt x="273" y="538"/>
                  <a:pt x="269" y="534"/>
                  <a:pt x="269" y="530"/>
                </a:cubicBezTo>
                <a:lnTo>
                  <a:pt x="269" y="499"/>
                </a:lnTo>
                <a:cubicBezTo>
                  <a:pt x="246" y="497"/>
                  <a:pt x="234" y="484"/>
                  <a:pt x="234" y="458"/>
                </a:cubicBezTo>
                <a:cubicBezTo>
                  <a:pt x="234" y="454"/>
                  <a:pt x="238" y="454"/>
                  <a:pt x="241" y="454"/>
                </a:cubicBezTo>
                <a:cubicBezTo>
                  <a:pt x="262" y="454"/>
                  <a:pt x="276" y="462"/>
                  <a:pt x="281" y="480"/>
                </a:cubicBezTo>
                <a:close/>
                <a:moveTo>
                  <a:pt x="427" y="480"/>
                </a:moveTo>
                <a:lnTo>
                  <a:pt x="428" y="479"/>
                </a:lnTo>
                <a:cubicBezTo>
                  <a:pt x="436" y="471"/>
                  <a:pt x="448" y="469"/>
                  <a:pt x="458" y="469"/>
                </a:cubicBezTo>
                <a:cubicBezTo>
                  <a:pt x="458" y="469"/>
                  <a:pt x="463" y="469"/>
                  <a:pt x="463" y="474"/>
                </a:cubicBezTo>
                <a:cubicBezTo>
                  <a:pt x="463" y="487"/>
                  <a:pt x="460" y="496"/>
                  <a:pt x="453" y="503"/>
                </a:cubicBezTo>
                <a:cubicBezTo>
                  <a:pt x="447" y="507"/>
                  <a:pt x="440" y="510"/>
                  <a:pt x="432" y="511"/>
                </a:cubicBezTo>
                <a:lnTo>
                  <a:pt x="432" y="530"/>
                </a:lnTo>
                <a:cubicBezTo>
                  <a:pt x="432" y="534"/>
                  <a:pt x="428" y="538"/>
                  <a:pt x="424" y="538"/>
                </a:cubicBezTo>
                <a:cubicBezTo>
                  <a:pt x="419" y="538"/>
                  <a:pt x="416" y="534"/>
                  <a:pt x="416" y="530"/>
                </a:cubicBezTo>
                <a:lnTo>
                  <a:pt x="416" y="499"/>
                </a:lnTo>
                <a:cubicBezTo>
                  <a:pt x="393" y="497"/>
                  <a:pt x="380" y="484"/>
                  <a:pt x="381" y="458"/>
                </a:cubicBezTo>
                <a:cubicBezTo>
                  <a:pt x="381" y="454"/>
                  <a:pt x="384" y="454"/>
                  <a:pt x="387" y="454"/>
                </a:cubicBezTo>
                <a:cubicBezTo>
                  <a:pt x="409" y="454"/>
                  <a:pt x="423" y="462"/>
                  <a:pt x="427" y="480"/>
                </a:cubicBezTo>
                <a:close/>
                <a:moveTo>
                  <a:pt x="207" y="356"/>
                </a:moveTo>
                <a:cubicBezTo>
                  <a:pt x="207" y="354"/>
                  <a:pt x="210" y="353"/>
                  <a:pt x="213" y="353"/>
                </a:cubicBezTo>
                <a:cubicBezTo>
                  <a:pt x="216" y="353"/>
                  <a:pt x="219" y="355"/>
                  <a:pt x="218" y="357"/>
                </a:cubicBezTo>
                <a:lnTo>
                  <a:pt x="192" y="538"/>
                </a:lnTo>
                <a:cubicBezTo>
                  <a:pt x="191" y="540"/>
                  <a:pt x="188" y="541"/>
                  <a:pt x="185" y="541"/>
                </a:cubicBezTo>
                <a:cubicBezTo>
                  <a:pt x="182" y="541"/>
                  <a:pt x="180" y="539"/>
                  <a:pt x="180" y="537"/>
                </a:cubicBezTo>
                <a:lnTo>
                  <a:pt x="207" y="356"/>
                </a:lnTo>
                <a:close/>
                <a:moveTo>
                  <a:pt x="338" y="356"/>
                </a:moveTo>
                <a:cubicBezTo>
                  <a:pt x="338" y="354"/>
                  <a:pt x="335" y="353"/>
                  <a:pt x="332" y="353"/>
                </a:cubicBezTo>
                <a:cubicBezTo>
                  <a:pt x="329" y="353"/>
                  <a:pt x="326" y="355"/>
                  <a:pt x="326" y="357"/>
                </a:cubicBezTo>
                <a:lnTo>
                  <a:pt x="353" y="538"/>
                </a:lnTo>
                <a:cubicBezTo>
                  <a:pt x="354" y="540"/>
                  <a:pt x="356" y="541"/>
                  <a:pt x="360" y="541"/>
                </a:cubicBezTo>
                <a:cubicBezTo>
                  <a:pt x="363" y="541"/>
                  <a:pt x="365" y="539"/>
                  <a:pt x="365" y="537"/>
                </a:cubicBezTo>
                <a:lnTo>
                  <a:pt x="338" y="356"/>
                </a:lnTo>
                <a:close/>
                <a:moveTo>
                  <a:pt x="90" y="356"/>
                </a:moveTo>
                <a:cubicBezTo>
                  <a:pt x="91" y="354"/>
                  <a:pt x="94" y="353"/>
                  <a:pt x="97" y="353"/>
                </a:cubicBezTo>
                <a:cubicBezTo>
                  <a:pt x="100" y="354"/>
                  <a:pt x="102" y="356"/>
                  <a:pt x="102" y="358"/>
                </a:cubicBezTo>
                <a:lnTo>
                  <a:pt x="47" y="538"/>
                </a:lnTo>
                <a:cubicBezTo>
                  <a:pt x="46" y="540"/>
                  <a:pt x="43" y="541"/>
                  <a:pt x="40" y="541"/>
                </a:cubicBezTo>
                <a:cubicBezTo>
                  <a:pt x="37" y="540"/>
                  <a:pt x="35" y="538"/>
                  <a:pt x="35" y="536"/>
                </a:cubicBezTo>
                <a:lnTo>
                  <a:pt x="90" y="356"/>
                </a:lnTo>
                <a:close/>
                <a:moveTo>
                  <a:pt x="455" y="356"/>
                </a:moveTo>
                <a:cubicBezTo>
                  <a:pt x="454" y="354"/>
                  <a:pt x="451" y="353"/>
                  <a:pt x="448" y="353"/>
                </a:cubicBezTo>
                <a:cubicBezTo>
                  <a:pt x="444" y="354"/>
                  <a:pt x="442" y="356"/>
                  <a:pt x="443" y="358"/>
                </a:cubicBezTo>
                <a:lnTo>
                  <a:pt x="498" y="538"/>
                </a:lnTo>
                <a:cubicBezTo>
                  <a:pt x="498" y="540"/>
                  <a:pt x="501" y="541"/>
                  <a:pt x="505" y="541"/>
                </a:cubicBezTo>
                <a:cubicBezTo>
                  <a:pt x="508" y="540"/>
                  <a:pt x="510" y="538"/>
                  <a:pt x="509" y="536"/>
                </a:cubicBezTo>
                <a:lnTo>
                  <a:pt x="455" y="356"/>
                </a:lnTo>
                <a:close/>
                <a:moveTo>
                  <a:pt x="486" y="373"/>
                </a:moveTo>
                <a:cubicBezTo>
                  <a:pt x="480" y="373"/>
                  <a:pt x="476" y="369"/>
                  <a:pt x="476" y="363"/>
                </a:cubicBezTo>
                <a:cubicBezTo>
                  <a:pt x="476" y="358"/>
                  <a:pt x="480" y="354"/>
                  <a:pt x="486" y="354"/>
                </a:cubicBezTo>
                <a:lnTo>
                  <a:pt x="612" y="354"/>
                </a:lnTo>
                <a:cubicBezTo>
                  <a:pt x="618" y="354"/>
                  <a:pt x="622" y="358"/>
                  <a:pt x="622" y="363"/>
                </a:cubicBezTo>
                <a:cubicBezTo>
                  <a:pt x="622" y="369"/>
                  <a:pt x="618" y="373"/>
                  <a:pt x="612" y="373"/>
                </a:cubicBezTo>
                <a:lnTo>
                  <a:pt x="486" y="373"/>
                </a:lnTo>
                <a:close/>
                <a:moveTo>
                  <a:pt x="497" y="412"/>
                </a:moveTo>
                <a:cubicBezTo>
                  <a:pt x="492" y="412"/>
                  <a:pt x="487" y="408"/>
                  <a:pt x="487" y="402"/>
                </a:cubicBezTo>
                <a:cubicBezTo>
                  <a:pt x="487" y="397"/>
                  <a:pt x="492" y="393"/>
                  <a:pt x="497" y="393"/>
                </a:cubicBezTo>
                <a:lnTo>
                  <a:pt x="612" y="393"/>
                </a:lnTo>
                <a:cubicBezTo>
                  <a:pt x="618" y="393"/>
                  <a:pt x="622" y="397"/>
                  <a:pt x="622" y="402"/>
                </a:cubicBezTo>
                <a:cubicBezTo>
                  <a:pt x="622" y="408"/>
                  <a:pt x="618" y="412"/>
                  <a:pt x="612" y="412"/>
                </a:cubicBezTo>
                <a:lnTo>
                  <a:pt x="497" y="412"/>
                </a:lnTo>
                <a:close/>
                <a:moveTo>
                  <a:pt x="509" y="455"/>
                </a:moveTo>
                <a:cubicBezTo>
                  <a:pt x="504" y="455"/>
                  <a:pt x="500" y="451"/>
                  <a:pt x="500" y="446"/>
                </a:cubicBezTo>
                <a:cubicBezTo>
                  <a:pt x="500" y="440"/>
                  <a:pt x="504" y="436"/>
                  <a:pt x="509" y="436"/>
                </a:cubicBezTo>
                <a:lnTo>
                  <a:pt x="612" y="436"/>
                </a:lnTo>
                <a:cubicBezTo>
                  <a:pt x="618" y="436"/>
                  <a:pt x="622" y="440"/>
                  <a:pt x="622" y="446"/>
                </a:cubicBezTo>
                <a:cubicBezTo>
                  <a:pt x="622" y="451"/>
                  <a:pt x="618" y="455"/>
                  <a:pt x="612" y="455"/>
                </a:cubicBezTo>
                <a:lnTo>
                  <a:pt x="509" y="455"/>
                </a:lnTo>
                <a:close/>
                <a:moveTo>
                  <a:pt x="522" y="498"/>
                </a:moveTo>
                <a:cubicBezTo>
                  <a:pt x="517" y="498"/>
                  <a:pt x="512" y="494"/>
                  <a:pt x="512" y="489"/>
                </a:cubicBezTo>
                <a:cubicBezTo>
                  <a:pt x="512" y="484"/>
                  <a:pt x="517" y="479"/>
                  <a:pt x="522" y="479"/>
                </a:cubicBezTo>
                <a:lnTo>
                  <a:pt x="612" y="479"/>
                </a:lnTo>
                <a:cubicBezTo>
                  <a:pt x="618" y="479"/>
                  <a:pt x="622" y="484"/>
                  <a:pt x="622" y="489"/>
                </a:cubicBezTo>
                <a:cubicBezTo>
                  <a:pt x="622" y="494"/>
                  <a:pt x="618" y="498"/>
                  <a:pt x="612" y="498"/>
                </a:cubicBezTo>
                <a:lnTo>
                  <a:pt x="522" y="498"/>
                </a:lnTo>
                <a:close/>
                <a:moveTo>
                  <a:pt x="536" y="537"/>
                </a:moveTo>
                <a:cubicBezTo>
                  <a:pt x="531" y="537"/>
                  <a:pt x="526" y="533"/>
                  <a:pt x="526" y="528"/>
                </a:cubicBezTo>
                <a:cubicBezTo>
                  <a:pt x="526" y="523"/>
                  <a:pt x="531" y="518"/>
                  <a:pt x="536" y="518"/>
                </a:cubicBezTo>
                <a:lnTo>
                  <a:pt x="612" y="518"/>
                </a:lnTo>
                <a:cubicBezTo>
                  <a:pt x="618" y="518"/>
                  <a:pt x="622" y="523"/>
                  <a:pt x="622" y="528"/>
                </a:cubicBezTo>
                <a:cubicBezTo>
                  <a:pt x="622" y="533"/>
                  <a:pt x="618" y="537"/>
                  <a:pt x="612" y="537"/>
                </a:cubicBezTo>
                <a:lnTo>
                  <a:pt x="536" y="537"/>
                </a:lnTo>
                <a:close/>
                <a:moveTo>
                  <a:pt x="9" y="537"/>
                </a:moveTo>
                <a:cubicBezTo>
                  <a:pt x="4" y="537"/>
                  <a:pt x="0" y="533"/>
                  <a:pt x="0" y="528"/>
                </a:cubicBezTo>
                <a:cubicBezTo>
                  <a:pt x="0" y="523"/>
                  <a:pt x="4" y="518"/>
                  <a:pt x="9" y="518"/>
                </a:cubicBezTo>
                <a:lnTo>
                  <a:pt x="15" y="518"/>
                </a:lnTo>
                <a:cubicBezTo>
                  <a:pt x="21" y="518"/>
                  <a:pt x="25" y="523"/>
                  <a:pt x="25" y="528"/>
                </a:cubicBezTo>
                <a:cubicBezTo>
                  <a:pt x="25" y="533"/>
                  <a:pt x="21" y="537"/>
                  <a:pt x="15" y="537"/>
                </a:cubicBezTo>
                <a:lnTo>
                  <a:pt x="9" y="537"/>
                </a:lnTo>
                <a:close/>
                <a:moveTo>
                  <a:pt x="61" y="354"/>
                </a:moveTo>
                <a:cubicBezTo>
                  <a:pt x="66" y="354"/>
                  <a:pt x="70" y="358"/>
                  <a:pt x="70" y="363"/>
                </a:cubicBezTo>
                <a:cubicBezTo>
                  <a:pt x="70" y="369"/>
                  <a:pt x="66" y="373"/>
                  <a:pt x="61" y="373"/>
                </a:cubicBezTo>
                <a:lnTo>
                  <a:pt x="9" y="373"/>
                </a:lnTo>
                <a:cubicBezTo>
                  <a:pt x="4" y="373"/>
                  <a:pt x="0" y="369"/>
                  <a:pt x="0" y="363"/>
                </a:cubicBezTo>
                <a:cubicBezTo>
                  <a:pt x="0" y="358"/>
                  <a:pt x="4" y="354"/>
                  <a:pt x="9" y="354"/>
                </a:cubicBezTo>
                <a:lnTo>
                  <a:pt x="61" y="354"/>
                </a:lnTo>
                <a:close/>
                <a:moveTo>
                  <a:pt x="49" y="393"/>
                </a:moveTo>
                <a:cubicBezTo>
                  <a:pt x="55" y="393"/>
                  <a:pt x="59" y="397"/>
                  <a:pt x="59" y="402"/>
                </a:cubicBezTo>
                <a:cubicBezTo>
                  <a:pt x="59" y="408"/>
                  <a:pt x="55" y="412"/>
                  <a:pt x="49" y="412"/>
                </a:cubicBezTo>
                <a:lnTo>
                  <a:pt x="9" y="412"/>
                </a:lnTo>
                <a:cubicBezTo>
                  <a:pt x="4" y="412"/>
                  <a:pt x="0" y="408"/>
                  <a:pt x="0" y="402"/>
                </a:cubicBezTo>
                <a:cubicBezTo>
                  <a:pt x="0" y="397"/>
                  <a:pt x="4" y="393"/>
                  <a:pt x="9" y="393"/>
                </a:cubicBezTo>
                <a:lnTo>
                  <a:pt x="49" y="393"/>
                </a:lnTo>
                <a:close/>
                <a:moveTo>
                  <a:pt x="37" y="436"/>
                </a:moveTo>
                <a:cubicBezTo>
                  <a:pt x="42" y="436"/>
                  <a:pt x="46" y="440"/>
                  <a:pt x="46" y="446"/>
                </a:cubicBezTo>
                <a:cubicBezTo>
                  <a:pt x="46" y="451"/>
                  <a:pt x="42" y="455"/>
                  <a:pt x="37" y="455"/>
                </a:cubicBezTo>
                <a:lnTo>
                  <a:pt x="9" y="455"/>
                </a:lnTo>
                <a:cubicBezTo>
                  <a:pt x="4" y="455"/>
                  <a:pt x="0" y="451"/>
                  <a:pt x="0" y="446"/>
                </a:cubicBezTo>
                <a:cubicBezTo>
                  <a:pt x="0" y="440"/>
                  <a:pt x="4" y="436"/>
                  <a:pt x="9" y="436"/>
                </a:cubicBezTo>
                <a:lnTo>
                  <a:pt x="37" y="436"/>
                </a:lnTo>
                <a:close/>
                <a:moveTo>
                  <a:pt x="24" y="479"/>
                </a:moveTo>
                <a:cubicBezTo>
                  <a:pt x="30" y="479"/>
                  <a:pt x="34" y="484"/>
                  <a:pt x="34" y="489"/>
                </a:cubicBezTo>
                <a:cubicBezTo>
                  <a:pt x="34" y="494"/>
                  <a:pt x="30" y="498"/>
                  <a:pt x="24" y="498"/>
                </a:cubicBezTo>
                <a:lnTo>
                  <a:pt x="9" y="498"/>
                </a:lnTo>
                <a:cubicBezTo>
                  <a:pt x="4" y="498"/>
                  <a:pt x="0" y="494"/>
                  <a:pt x="0" y="489"/>
                </a:cubicBezTo>
                <a:cubicBezTo>
                  <a:pt x="0" y="484"/>
                  <a:pt x="4" y="479"/>
                  <a:pt x="9" y="479"/>
                </a:cubicBezTo>
                <a:lnTo>
                  <a:pt x="24" y="479"/>
                </a:lnTo>
                <a:close/>
                <a:moveTo>
                  <a:pt x="114" y="244"/>
                </a:moveTo>
                <a:cubicBezTo>
                  <a:pt x="114" y="244"/>
                  <a:pt x="114" y="243"/>
                  <a:pt x="114" y="243"/>
                </a:cubicBezTo>
                <a:lnTo>
                  <a:pt x="107" y="209"/>
                </a:lnTo>
                <a:lnTo>
                  <a:pt x="93" y="222"/>
                </a:lnTo>
                <a:lnTo>
                  <a:pt x="114" y="244"/>
                </a:lnTo>
                <a:close/>
                <a:moveTo>
                  <a:pt x="124" y="302"/>
                </a:moveTo>
                <a:lnTo>
                  <a:pt x="124" y="284"/>
                </a:lnTo>
                <a:lnTo>
                  <a:pt x="118" y="257"/>
                </a:lnTo>
                <a:lnTo>
                  <a:pt x="94" y="277"/>
                </a:lnTo>
                <a:lnTo>
                  <a:pt x="124" y="302"/>
                </a:lnTo>
                <a:close/>
                <a:moveTo>
                  <a:pt x="124" y="322"/>
                </a:moveTo>
                <a:lnTo>
                  <a:pt x="124" y="310"/>
                </a:lnTo>
                <a:lnTo>
                  <a:pt x="89" y="281"/>
                </a:lnTo>
                <a:lnTo>
                  <a:pt x="47" y="316"/>
                </a:lnTo>
                <a:lnTo>
                  <a:pt x="45" y="322"/>
                </a:lnTo>
                <a:lnTo>
                  <a:pt x="124" y="322"/>
                </a:lnTo>
                <a:close/>
                <a:moveTo>
                  <a:pt x="162" y="316"/>
                </a:moveTo>
                <a:lnTo>
                  <a:pt x="162" y="282"/>
                </a:lnTo>
                <a:cubicBezTo>
                  <a:pt x="162" y="277"/>
                  <a:pt x="164" y="273"/>
                  <a:pt x="167" y="270"/>
                </a:cubicBezTo>
                <a:lnTo>
                  <a:pt x="167" y="270"/>
                </a:lnTo>
                <a:lnTo>
                  <a:pt x="167" y="270"/>
                </a:lnTo>
                <a:cubicBezTo>
                  <a:pt x="170" y="268"/>
                  <a:pt x="174" y="266"/>
                  <a:pt x="178" y="266"/>
                </a:cubicBezTo>
                <a:lnTo>
                  <a:pt x="244" y="266"/>
                </a:lnTo>
                <a:cubicBezTo>
                  <a:pt x="248" y="266"/>
                  <a:pt x="252" y="268"/>
                  <a:pt x="255" y="270"/>
                </a:cubicBezTo>
                <a:lnTo>
                  <a:pt x="255" y="270"/>
                </a:lnTo>
                <a:lnTo>
                  <a:pt x="255" y="271"/>
                </a:lnTo>
                <a:cubicBezTo>
                  <a:pt x="258" y="273"/>
                  <a:pt x="259" y="277"/>
                  <a:pt x="259" y="282"/>
                </a:cubicBezTo>
                <a:lnTo>
                  <a:pt x="259" y="316"/>
                </a:lnTo>
                <a:lnTo>
                  <a:pt x="281" y="316"/>
                </a:lnTo>
                <a:lnTo>
                  <a:pt x="281" y="256"/>
                </a:lnTo>
                <a:cubicBezTo>
                  <a:pt x="281" y="253"/>
                  <a:pt x="282" y="250"/>
                  <a:pt x="285" y="248"/>
                </a:cubicBezTo>
                <a:lnTo>
                  <a:pt x="291" y="244"/>
                </a:lnTo>
                <a:lnTo>
                  <a:pt x="274" y="207"/>
                </a:lnTo>
                <a:lnTo>
                  <a:pt x="211" y="181"/>
                </a:lnTo>
                <a:lnTo>
                  <a:pt x="150" y="207"/>
                </a:lnTo>
                <a:lnTo>
                  <a:pt x="132" y="244"/>
                </a:lnTo>
                <a:lnTo>
                  <a:pt x="137" y="248"/>
                </a:lnTo>
                <a:cubicBezTo>
                  <a:pt x="139" y="249"/>
                  <a:pt x="141" y="252"/>
                  <a:pt x="141" y="254"/>
                </a:cubicBezTo>
                <a:lnTo>
                  <a:pt x="141" y="316"/>
                </a:lnTo>
                <a:lnTo>
                  <a:pt x="162" y="316"/>
                </a:lnTo>
                <a:close/>
                <a:moveTo>
                  <a:pt x="195" y="204"/>
                </a:moveTo>
                <a:lnTo>
                  <a:pt x="226" y="204"/>
                </a:lnTo>
                <a:cubicBezTo>
                  <a:pt x="229" y="204"/>
                  <a:pt x="231" y="206"/>
                  <a:pt x="231" y="209"/>
                </a:cubicBezTo>
                <a:lnTo>
                  <a:pt x="231" y="229"/>
                </a:lnTo>
                <a:cubicBezTo>
                  <a:pt x="231" y="231"/>
                  <a:pt x="229" y="233"/>
                  <a:pt x="226" y="233"/>
                </a:cubicBezTo>
                <a:lnTo>
                  <a:pt x="195" y="233"/>
                </a:lnTo>
                <a:cubicBezTo>
                  <a:pt x="193" y="233"/>
                  <a:pt x="191" y="231"/>
                  <a:pt x="191" y="229"/>
                </a:cubicBezTo>
                <a:lnTo>
                  <a:pt x="191" y="209"/>
                </a:lnTo>
                <a:cubicBezTo>
                  <a:pt x="191" y="206"/>
                  <a:pt x="193" y="204"/>
                  <a:pt x="195" y="204"/>
                </a:cubicBezTo>
                <a:close/>
                <a:moveTo>
                  <a:pt x="413" y="100"/>
                </a:moveTo>
                <a:lnTo>
                  <a:pt x="471" y="100"/>
                </a:lnTo>
                <a:lnTo>
                  <a:pt x="471" y="52"/>
                </a:lnTo>
                <a:lnTo>
                  <a:pt x="413" y="52"/>
                </a:lnTo>
                <a:lnTo>
                  <a:pt x="413" y="100"/>
                </a:lnTo>
                <a:close/>
                <a:moveTo>
                  <a:pt x="483" y="125"/>
                </a:moveTo>
                <a:lnTo>
                  <a:pt x="506" y="322"/>
                </a:lnTo>
                <a:lnTo>
                  <a:pt x="612" y="322"/>
                </a:lnTo>
                <a:cubicBezTo>
                  <a:pt x="618" y="322"/>
                  <a:pt x="622" y="326"/>
                  <a:pt x="622" y="331"/>
                </a:cubicBezTo>
                <a:cubicBezTo>
                  <a:pt x="622" y="336"/>
                  <a:pt x="618" y="340"/>
                  <a:pt x="612" y="340"/>
                </a:cubicBezTo>
                <a:lnTo>
                  <a:pt x="9" y="340"/>
                </a:lnTo>
                <a:cubicBezTo>
                  <a:pt x="4" y="340"/>
                  <a:pt x="0" y="336"/>
                  <a:pt x="0" y="331"/>
                </a:cubicBezTo>
                <a:cubicBezTo>
                  <a:pt x="0" y="326"/>
                  <a:pt x="4" y="322"/>
                  <a:pt x="9" y="322"/>
                </a:cubicBezTo>
                <a:lnTo>
                  <a:pt x="39" y="322"/>
                </a:lnTo>
                <a:cubicBezTo>
                  <a:pt x="39" y="321"/>
                  <a:pt x="39" y="321"/>
                  <a:pt x="39" y="321"/>
                </a:cubicBezTo>
                <a:lnTo>
                  <a:pt x="71" y="182"/>
                </a:lnTo>
                <a:cubicBezTo>
                  <a:pt x="73" y="183"/>
                  <a:pt x="75" y="183"/>
                  <a:pt x="77" y="184"/>
                </a:cubicBezTo>
                <a:lnTo>
                  <a:pt x="75" y="195"/>
                </a:lnTo>
                <a:lnTo>
                  <a:pt x="85" y="185"/>
                </a:lnTo>
                <a:lnTo>
                  <a:pt x="84" y="185"/>
                </a:lnTo>
                <a:cubicBezTo>
                  <a:pt x="86" y="185"/>
                  <a:pt x="88" y="185"/>
                  <a:pt x="89" y="185"/>
                </a:cubicBezTo>
                <a:cubicBezTo>
                  <a:pt x="91" y="185"/>
                  <a:pt x="92" y="185"/>
                  <a:pt x="94" y="185"/>
                </a:cubicBezTo>
                <a:lnTo>
                  <a:pt x="93" y="185"/>
                </a:lnTo>
                <a:lnTo>
                  <a:pt x="103" y="195"/>
                </a:lnTo>
                <a:lnTo>
                  <a:pt x="101" y="184"/>
                </a:lnTo>
                <a:cubicBezTo>
                  <a:pt x="103" y="183"/>
                  <a:pt x="105" y="183"/>
                  <a:pt x="107" y="182"/>
                </a:cubicBezTo>
                <a:lnTo>
                  <a:pt x="119" y="234"/>
                </a:lnTo>
                <a:lnTo>
                  <a:pt x="137" y="197"/>
                </a:lnTo>
                <a:cubicBezTo>
                  <a:pt x="138" y="195"/>
                  <a:pt x="139" y="194"/>
                  <a:pt x="141" y="193"/>
                </a:cubicBezTo>
                <a:lnTo>
                  <a:pt x="208" y="164"/>
                </a:lnTo>
                <a:cubicBezTo>
                  <a:pt x="210" y="163"/>
                  <a:pt x="212" y="163"/>
                  <a:pt x="214" y="164"/>
                </a:cubicBezTo>
                <a:lnTo>
                  <a:pt x="283" y="193"/>
                </a:lnTo>
                <a:cubicBezTo>
                  <a:pt x="285" y="194"/>
                  <a:pt x="286" y="195"/>
                  <a:pt x="287" y="197"/>
                </a:cubicBezTo>
                <a:lnTo>
                  <a:pt x="287" y="197"/>
                </a:lnTo>
                <a:lnTo>
                  <a:pt x="309" y="243"/>
                </a:lnTo>
                <a:cubicBezTo>
                  <a:pt x="311" y="247"/>
                  <a:pt x="310" y="251"/>
                  <a:pt x="307" y="254"/>
                </a:cubicBezTo>
                <a:lnTo>
                  <a:pt x="298" y="260"/>
                </a:lnTo>
                <a:lnTo>
                  <a:pt x="298" y="322"/>
                </a:lnTo>
                <a:lnTo>
                  <a:pt x="378" y="322"/>
                </a:lnTo>
                <a:lnTo>
                  <a:pt x="401" y="125"/>
                </a:lnTo>
                <a:lnTo>
                  <a:pt x="401" y="124"/>
                </a:lnTo>
                <a:lnTo>
                  <a:pt x="401" y="123"/>
                </a:lnTo>
                <a:lnTo>
                  <a:pt x="397" y="123"/>
                </a:lnTo>
                <a:cubicBezTo>
                  <a:pt x="391" y="123"/>
                  <a:pt x="385" y="118"/>
                  <a:pt x="385" y="112"/>
                </a:cubicBezTo>
                <a:cubicBezTo>
                  <a:pt x="385" y="105"/>
                  <a:pt x="391" y="100"/>
                  <a:pt x="397" y="100"/>
                </a:cubicBezTo>
                <a:lnTo>
                  <a:pt x="401" y="100"/>
                </a:lnTo>
                <a:lnTo>
                  <a:pt x="401" y="50"/>
                </a:lnTo>
                <a:lnTo>
                  <a:pt x="397" y="50"/>
                </a:lnTo>
                <a:cubicBezTo>
                  <a:pt x="393" y="50"/>
                  <a:pt x="391" y="46"/>
                  <a:pt x="391" y="42"/>
                </a:cubicBezTo>
                <a:cubicBezTo>
                  <a:pt x="391" y="40"/>
                  <a:pt x="392" y="37"/>
                  <a:pt x="394" y="36"/>
                </a:cubicBezTo>
                <a:lnTo>
                  <a:pt x="435" y="3"/>
                </a:lnTo>
                <a:cubicBezTo>
                  <a:pt x="437" y="1"/>
                  <a:pt x="440" y="0"/>
                  <a:pt x="442" y="0"/>
                </a:cubicBezTo>
                <a:cubicBezTo>
                  <a:pt x="444" y="0"/>
                  <a:pt x="447" y="1"/>
                  <a:pt x="449" y="3"/>
                </a:cubicBezTo>
                <a:lnTo>
                  <a:pt x="489" y="36"/>
                </a:lnTo>
                <a:cubicBezTo>
                  <a:pt x="492" y="37"/>
                  <a:pt x="493" y="40"/>
                  <a:pt x="493" y="42"/>
                </a:cubicBezTo>
                <a:cubicBezTo>
                  <a:pt x="493" y="46"/>
                  <a:pt x="490" y="50"/>
                  <a:pt x="487" y="50"/>
                </a:cubicBezTo>
                <a:lnTo>
                  <a:pt x="483" y="50"/>
                </a:lnTo>
                <a:lnTo>
                  <a:pt x="483" y="100"/>
                </a:lnTo>
                <a:lnTo>
                  <a:pt x="485" y="100"/>
                </a:lnTo>
                <a:cubicBezTo>
                  <a:pt x="491" y="100"/>
                  <a:pt x="497" y="105"/>
                  <a:pt x="497" y="112"/>
                </a:cubicBezTo>
                <a:cubicBezTo>
                  <a:pt x="497" y="118"/>
                  <a:pt x="491" y="123"/>
                  <a:pt x="485" y="123"/>
                </a:cubicBezTo>
                <a:lnTo>
                  <a:pt x="483" y="123"/>
                </a:lnTo>
                <a:lnTo>
                  <a:pt x="483" y="124"/>
                </a:lnTo>
                <a:lnTo>
                  <a:pt x="483" y="125"/>
                </a:lnTo>
                <a:close/>
                <a:moveTo>
                  <a:pt x="436" y="322"/>
                </a:moveTo>
                <a:lnTo>
                  <a:pt x="436" y="294"/>
                </a:lnTo>
                <a:lnTo>
                  <a:pt x="393" y="294"/>
                </a:lnTo>
                <a:lnTo>
                  <a:pt x="390" y="322"/>
                </a:lnTo>
                <a:lnTo>
                  <a:pt x="436" y="322"/>
                </a:lnTo>
                <a:close/>
                <a:moveTo>
                  <a:pt x="448" y="294"/>
                </a:moveTo>
                <a:lnTo>
                  <a:pt x="448" y="322"/>
                </a:lnTo>
                <a:lnTo>
                  <a:pt x="494" y="322"/>
                </a:lnTo>
                <a:lnTo>
                  <a:pt x="490" y="294"/>
                </a:lnTo>
                <a:lnTo>
                  <a:pt x="448" y="294"/>
                </a:lnTo>
                <a:close/>
                <a:moveTo>
                  <a:pt x="415" y="212"/>
                </a:moveTo>
                <a:lnTo>
                  <a:pt x="436" y="230"/>
                </a:lnTo>
                <a:lnTo>
                  <a:pt x="436" y="212"/>
                </a:lnTo>
                <a:lnTo>
                  <a:pt x="415" y="212"/>
                </a:lnTo>
                <a:close/>
                <a:moveTo>
                  <a:pt x="482" y="282"/>
                </a:moveTo>
                <a:lnTo>
                  <a:pt x="448" y="252"/>
                </a:lnTo>
                <a:lnTo>
                  <a:pt x="448" y="282"/>
                </a:lnTo>
                <a:lnTo>
                  <a:pt x="482" y="282"/>
                </a:lnTo>
                <a:close/>
                <a:moveTo>
                  <a:pt x="455" y="163"/>
                </a:moveTo>
                <a:lnTo>
                  <a:pt x="478" y="188"/>
                </a:lnTo>
                <a:lnTo>
                  <a:pt x="474" y="149"/>
                </a:lnTo>
                <a:cubicBezTo>
                  <a:pt x="473" y="151"/>
                  <a:pt x="472" y="152"/>
                  <a:pt x="471" y="153"/>
                </a:cubicBezTo>
                <a:cubicBezTo>
                  <a:pt x="466" y="157"/>
                  <a:pt x="461" y="161"/>
                  <a:pt x="455" y="163"/>
                </a:cubicBezTo>
                <a:close/>
                <a:moveTo>
                  <a:pt x="431" y="151"/>
                </a:moveTo>
                <a:lnTo>
                  <a:pt x="414" y="132"/>
                </a:lnTo>
                <a:cubicBezTo>
                  <a:pt x="416" y="137"/>
                  <a:pt x="418" y="141"/>
                  <a:pt x="422" y="144"/>
                </a:cubicBezTo>
                <a:lnTo>
                  <a:pt x="422" y="144"/>
                </a:lnTo>
                <a:cubicBezTo>
                  <a:pt x="424" y="147"/>
                  <a:pt x="428" y="149"/>
                  <a:pt x="431" y="151"/>
                </a:cubicBezTo>
                <a:close/>
                <a:moveTo>
                  <a:pt x="476" y="200"/>
                </a:moveTo>
                <a:lnTo>
                  <a:pt x="448" y="169"/>
                </a:lnTo>
                <a:lnTo>
                  <a:pt x="448" y="200"/>
                </a:lnTo>
                <a:lnTo>
                  <a:pt x="476" y="200"/>
                </a:lnTo>
                <a:close/>
                <a:moveTo>
                  <a:pt x="436" y="252"/>
                </a:moveTo>
                <a:lnTo>
                  <a:pt x="401" y="282"/>
                </a:lnTo>
                <a:lnTo>
                  <a:pt x="436" y="282"/>
                </a:lnTo>
                <a:lnTo>
                  <a:pt x="436" y="252"/>
                </a:lnTo>
                <a:close/>
                <a:moveTo>
                  <a:pt x="481" y="213"/>
                </a:moveTo>
                <a:lnTo>
                  <a:pt x="449" y="241"/>
                </a:lnTo>
                <a:lnTo>
                  <a:pt x="488" y="275"/>
                </a:lnTo>
                <a:lnTo>
                  <a:pt x="481" y="213"/>
                </a:lnTo>
                <a:close/>
                <a:moveTo>
                  <a:pt x="448" y="230"/>
                </a:moveTo>
                <a:lnTo>
                  <a:pt x="469" y="212"/>
                </a:lnTo>
                <a:lnTo>
                  <a:pt x="448" y="212"/>
                </a:lnTo>
                <a:lnTo>
                  <a:pt x="448" y="230"/>
                </a:lnTo>
                <a:close/>
                <a:moveTo>
                  <a:pt x="396" y="275"/>
                </a:moveTo>
                <a:lnTo>
                  <a:pt x="435" y="241"/>
                </a:lnTo>
                <a:lnTo>
                  <a:pt x="403" y="213"/>
                </a:lnTo>
                <a:lnTo>
                  <a:pt x="396" y="275"/>
                </a:lnTo>
                <a:close/>
                <a:moveTo>
                  <a:pt x="436" y="169"/>
                </a:moveTo>
                <a:lnTo>
                  <a:pt x="408" y="200"/>
                </a:lnTo>
                <a:lnTo>
                  <a:pt x="436" y="200"/>
                </a:lnTo>
                <a:lnTo>
                  <a:pt x="436" y="169"/>
                </a:lnTo>
                <a:close/>
                <a:moveTo>
                  <a:pt x="470" y="132"/>
                </a:moveTo>
                <a:lnTo>
                  <a:pt x="453" y="151"/>
                </a:lnTo>
                <a:cubicBezTo>
                  <a:pt x="456" y="149"/>
                  <a:pt x="460" y="147"/>
                  <a:pt x="462" y="144"/>
                </a:cubicBezTo>
                <a:cubicBezTo>
                  <a:pt x="466" y="141"/>
                  <a:pt x="468" y="137"/>
                  <a:pt x="470" y="132"/>
                </a:cubicBezTo>
                <a:close/>
                <a:moveTo>
                  <a:pt x="442" y="148"/>
                </a:moveTo>
                <a:lnTo>
                  <a:pt x="465" y="123"/>
                </a:lnTo>
                <a:lnTo>
                  <a:pt x="419" y="123"/>
                </a:lnTo>
                <a:lnTo>
                  <a:pt x="442" y="148"/>
                </a:lnTo>
                <a:close/>
                <a:moveTo>
                  <a:pt x="406" y="188"/>
                </a:moveTo>
                <a:lnTo>
                  <a:pt x="429" y="163"/>
                </a:lnTo>
                <a:cubicBezTo>
                  <a:pt x="423" y="161"/>
                  <a:pt x="418" y="157"/>
                  <a:pt x="413" y="153"/>
                </a:cubicBezTo>
                <a:lnTo>
                  <a:pt x="413" y="153"/>
                </a:lnTo>
                <a:cubicBezTo>
                  <a:pt x="412" y="152"/>
                  <a:pt x="411" y="151"/>
                  <a:pt x="410" y="149"/>
                </a:cubicBezTo>
                <a:lnTo>
                  <a:pt x="406" y="188"/>
                </a:lnTo>
                <a:close/>
                <a:moveTo>
                  <a:pt x="89" y="113"/>
                </a:moveTo>
                <a:cubicBezTo>
                  <a:pt x="92" y="113"/>
                  <a:pt x="95" y="115"/>
                  <a:pt x="96" y="118"/>
                </a:cubicBezTo>
                <a:lnTo>
                  <a:pt x="105" y="118"/>
                </a:lnTo>
                <a:cubicBezTo>
                  <a:pt x="105" y="118"/>
                  <a:pt x="105" y="119"/>
                  <a:pt x="105" y="120"/>
                </a:cubicBezTo>
                <a:lnTo>
                  <a:pt x="105" y="120"/>
                </a:lnTo>
                <a:cubicBezTo>
                  <a:pt x="105" y="120"/>
                  <a:pt x="105" y="121"/>
                  <a:pt x="105" y="121"/>
                </a:cubicBezTo>
                <a:cubicBezTo>
                  <a:pt x="105" y="122"/>
                  <a:pt x="105" y="122"/>
                  <a:pt x="105" y="123"/>
                </a:cubicBezTo>
                <a:cubicBezTo>
                  <a:pt x="105" y="124"/>
                  <a:pt x="105" y="124"/>
                  <a:pt x="105" y="125"/>
                </a:cubicBezTo>
                <a:lnTo>
                  <a:pt x="96" y="125"/>
                </a:lnTo>
                <a:cubicBezTo>
                  <a:pt x="95" y="127"/>
                  <a:pt x="92" y="129"/>
                  <a:pt x="89" y="129"/>
                </a:cubicBezTo>
                <a:cubicBezTo>
                  <a:pt x="85" y="129"/>
                  <a:pt x="81" y="126"/>
                  <a:pt x="81" y="121"/>
                </a:cubicBezTo>
                <a:cubicBezTo>
                  <a:pt x="81" y="117"/>
                  <a:pt x="85" y="113"/>
                  <a:pt x="89" y="113"/>
                </a:cubicBezTo>
                <a:lnTo>
                  <a:pt x="89" y="113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fr-FR" sz="105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6" name="City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2BDC3F8-DB5E-4B88-94EB-9928B77DB74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38072" y="1309919"/>
            <a:ext cx="454734" cy="407194"/>
            <a:chOff x="4226" y="170"/>
            <a:chExt cx="440" cy="394"/>
          </a:xfrm>
          <a:solidFill>
            <a:schemeClr val="accent1"/>
          </a:solidFill>
        </p:grpSpPr>
        <p:sp>
          <p:nvSpPr>
            <p:cNvPr id="7" name="Freeform 44">
              <a:extLst>
                <a:ext uri="{FF2B5EF4-FFF2-40B4-BE49-F238E27FC236}">
                  <a16:creationId xmlns:a16="http://schemas.microsoft.com/office/drawing/2014/main" id="{7D0EEBEC-4F01-4336-B248-8BCB2BF339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2" y="448"/>
              <a:ext cx="58" cy="116"/>
            </a:xfrm>
            <a:custGeom>
              <a:avLst/>
              <a:gdLst>
                <a:gd name="T0" fmla="*/ 12 w 46"/>
                <a:gd name="T1" fmla="*/ 0 h 91"/>
                <a:gd name="T2" fmla="*/ 34 w 46"/>
                <a:gd name="T3" fmla="*/ 0 h 91"/>
                <a:gd name="T4" fmla="*/ 34 w 46"/>
                <a:gd name="T5" fmla="*/ 23 h 91"/>
                <a:gd name="T6" fmla="*/ 12 w 46"/>
                <a:gd name="T7" fmla="*/ 23 h 91"/>
                <a:gd name="T8" fmla="*/ 12 w 46"/>
                <a:gd name="T9" fmla="*/ 0 h 91"/>
                <a:gd name="T10" fmla="*/ 5 w 46"/>
                <a:gd name="T11" fmla="*/ 91 h 91"/>
                <a:gd name="T12" fmla="*/ 46 w 46"/>
                <a:gd name="T13" fmla="*/ 91 h 91"/>
                <a:gd name="T14" fmla="*/ 46 w 46"/>
                <a:gd name="T15" fmla="*/ 46 h 91"/>
                <a:gd name="T16" fmla="*/ 0 w 46"/>
                <a:gd name="T17" fmla="*/ 46 h 91"/>
                <a:gd name="T18" fmla="*/ 0 w 46"/>
                <a:gd name="T19" fmla="*/ 91 h 91"/>
                <a:gd name="T20" fmla="*/ 5 w 46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91">
                  <a:moveTo>
                    <a:pt x="12" y="0"/>
                  </a:moveTo>
                  <a:lnTo>
                    <a:pt x="34" y="0"/>
                  </a:lnTo>
                  <a:lnTo>
                    <a:pt x="34" y="23"/>
                  </a:lnTo>
                  <a:lnTo>
                    <a:pt x="12" y="23"/>
                  </a:lnTo>
                  <a:lnTo>
                    <a:pt x="12" y="0"/>
                  </a:lnTo>
                  <a:close/>
                  <a:moveTo>
                    <a:pt x="5" y="91"/>
                  </a:moveTo>
                  <a:lnTo>
                    <a:pt x="46" y="91"/>
                  </a:lnTo>
                  <a:lnTo>
                    <a:pt x="46" y="46"/>
                  </a:lnTo>
                  <a:lnTo>
                    <a:pt x="0" y="46"/>
                  </a:lnTo>
                  <a:lnTo>
                    <a:pt x="0" y="91"/>
                  </a:lnTo>
                  <a:lnTo>
                    <a:pt x="5" y="91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 45">
              <a:extLst>
                <a:ext uri="{FF2B5EF4-FFF2-40B4-BE49-F238E27FC236}">
                  <a16:creationId xmlns:a16="http://schemas.microsoft.com/office/drawing/2014/main" id="{B903B419-D031-4550-BF82-7A69591A3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6" y="170"/>
              <a:ext cx="440" cy="394"/>
            </a:xfrm>
            <a:custGeom>
              <a:avLst/>
              <a:gdLst>
                <a:gd name="T0" fmla="*/ 320 w 349"/>
                <a:gd name="T1" fmla="*/ 185 h 311"/>
                <a:gd name="T2" fmla="*/ 320 w 349"/>
                <a:gd name="T3" fmla="*/ 49 h 311"/>
                <a:gd name="T4" fmla="*/ 257 w 349"/>
                <a:gd name="T5" fmla="*/ 87 h 311"/>
                <a:gd name="T6" fmla="*/ 257 w 349"/>
                <a:gd name="T7" fmla="*/ 146 h 311"/>
                <a:gd name="T8" fmla="*/ 233 w 349"/>
                <a:gd name="T9" fmla="*/ 146 h 311"/>
                <a:gd name="T10" fmla="*/ 233 w 349"/>
                <a:gd name="T11" fmla="*/ 68 h 311"/>
                <a:gd name="T12" fmla="*/ 204 w 349"/>
                <a:gd name="T13" fmla="*/ 68 h 311"/>
                <a:gd name="T14" fmla="*/ 204 w 349"/>
                <a:gd name="T15" fmla="*/ 0 h 311"/>
                <a:gd name="T16" fmla="*/ 126 w 349"/>
                <a:gd name="T17" fmla="*/ 0 h 311"/>
                <a:gd name="T18" fmla="*/ 126 w 349"/>
                <a:gd name="T19" fmla="*/ 111 h 311"/>
                <a:gd name="T20" fmla="*/ 87 w 349"/>
                <a:gd name="T21" fmla="*/ 111 h 311"/>
                <a:gd name="T22" fmla="*/ 87 w 349"/>
                <a:gd name="T23" fmla="*/ 73 h 311"/>
                <a:gd name="T24" fmla="*/ 55 w 349"/>
                <a:gd name="T25" fmla="*/ 53 h 311"/>
                <a:gd name="T26" fmla="*/ 24 w 349"/>
                <a:gd name="T27" fmla="*/ 73 h 311"/>
                <a:gd name="T28" fmla="*/ 24 w 349"/>
                <a:gd name="T29" fmla="*/ 141 h 311"/>
                <a:gd name="T30" fmla="*/ 0 w 349"/>
                <a:gd name="T31" fmla="*/ 141 h 311"/>
                <a:gd name="T32" fmla="*/ 0 w 349"/>
                <a:gd name="T33" fmla="*/ 311 h 311"/>
                <a:gd name="T34" fmla="*/ 72 w 349"/>
                <a:gd name="T35" fmla="*/ 311 h 311"/>
                <a:gd name="T36" fmla="*/ 72 w 349"/>
                <a:gd name="T37" fmla="*/ 181 h 311"/>
                <a:gd name="T38" fmla="*/ 141 w 349"/>
                <a:gd name="T39" fmla="*/ 181 h 311"/>
                <a:gd name="T40" fmla="*/ 141 w 349"/>
                <a:gd name="T41" fmla="*/ 207 h 311"/>
                <a:gd name="T42" fmla="*/ 115 w 349"/>
                <a:gd name="T43" fmla="*/ 272 h 311"/>
                <a:gd name="T44" fmla="*/ 131 w 349"/>
                <a:gd name="T45" fmla="*/ 272 h 311"/>
                <a:gd name="T46" fmla="*/ 131 w 349"/>
                <a:gd name="T47" fmla="*/ 311 h 311"/>
                <a:gd name="T48" fmla="*/ 141 w 349"/>
                <a:gd name="T49" fmla="*/ 311 h 311"/>
                <a:gd name="T50" fmla="*/ 141 w 349"/>
                <a:gd name="T51" fmla="*/ 263 h 311"/>
                <a:gd name="T52" fmla="*/ 129 w 349"/>
                <a:gd name="T53" fmla="*/ 263 h 311"/>
                <a:gd name="T54" fmla="*/ 148 w 349"/>
                <a:gd name="T55" fmla="*/ 214 h 311"/>
                <a:gd name="T56" fmla="*/ 203 w 349"/>
                <a:gd name="T57" fmla="*/ 192 h 311"/>
                <a:gd name="T58" fmla="*/ 257 w 349"/>
                <a:gd name="T59" fmla="*/ 214 h 311"/>
                <a:gd name="T60" fmla="*/ 277 w 349"/>
                <a:gd name="T61" fmla="*/ 263 h 311"/>
                <a:gd name="T62" fmla="*/ 265 w 349"/>
                <a:gd name="T63" fmla="*/ 263 h 311"/>
                <a:gd name="T64" fmla="*/ 265 w 349"/>
                <a:gd name="T65" fmla="*/ 311 h 311"/>
                <a:gd name="T66" fmla="*/ 284 w 349"/>
                <a:gd name="T67" fmla="*/ 311 h 311"/>
                <a:gd name="T68" fmla="*/ 349 w 349"/>
                <a:gd name="T69" fmla="*/ 311 h 311"/>
                <a:gd name="T70" fmla="*/ 349 w 349"/>
                <a:gd name="T71" fmla="*/ 185 h 311"/>
                <a:gd name="T72" fmla="*/ 320 w 349"/>
                <a:gd name="T73" fmla="*/ 18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9" h="311">
                  <a:moveTo>
                    <a:pt x="320" y="185"/>
                  </a:moveTo>
                  <a:lnTo>
                    <a:pt x="320" y="49"/>
                  </a:lnTo>
                  <a:lnTo>
                    <a:pt x="257" y="87"/>
                  </a:lnTo>
                  <a:lnTo>
                    <a:pt x="257" y="146"/>
                  </a:lnTo>
                  <a:lnTo>
                    <a:pt x="233" y="146"/>
                  </a:lnTo>
                  <a:lnTo>
                    <a:pt x="233" y="68"/>
                  </a:lnTo>
                  <a:lnTo>
                    <a:pt x="204" y="68"/>
                  </a:lnTo>
                  <a:lnTo>
                    <a:pt x="204" y="0"/>
                  </a:lnTo>
                  <a:lnTo>
                    <a:pt x="126" y="0"/>
                  </a:lnTo>
                  <a:lnTo>
                    <a:pt x="126" y="111"/>
                  </a:lnTo>
                  <a:lnTo>
                    <a:pt x="87" y="111"/>
                  </a:lnTo>
                  <a:lnTo>
                    <a:pt x="87" y="73"/>
                  </a:lnTo>
                  <a:lnTo>
                    <a:pt x="55" y="53"/>
                  </a:lnTo>
                  <a:lnTo>
                    <a:pt x="24" y="73"/>
                  </a:lnTo>
                  <a:lnTo>
                    <a:pt x="24" y="141"/>
                  </a:lnTo>
                  <a:lnTo>
                    <a:pt x="0" y="141"/>
                  </a:lnTo>
                  <a:lnTo>
                    <a:pt x="0" y="311"/>
                  </a:lnTo>
                  <a:lnTo>
                    <a:pt x="72" y="311"/>
                  </a:lnTo>
                  <a:lnTo>
                    <a:pt x="72" y="181"/>
                  </a:lnTo>
                  <a:cubicBezTo>
                    <a:pt x="72" y="135"/>
                    <a:pt x="141" y="135"/>
                    <a:pt x="141" y="181"/>
                  </a:cubicBezTo>
                  <a:lnTo>
                    <a:pt x="141" y="207"/>
                  </a:lnTo>
                  <a:lnTo>
                    <a:pt x="115" y="272"/>
                  </a:lnTo>
                  <a:lnTo>
                    <a:pt x="131" y="272"/>
                  </a:lnTo>
                  <a:lnTo>
                    <a:pt x="131" y="311"/>
                  </a:lnTo>
                  <a:lnTo>
                    <a:pt x="141" y="311"/>
                  </a:lnTo>
                  <a:lnTo>
                    <a:pt x="141" y="263"/>
                  </a:lnTo>
                  <a:lnTo>
                    <a:pt x="129" y="263"/>
                  </a:lnTo>
                  <a:lnTo>
                    <a:pt x="148" y="214"/>
                  </a:lnTo>
                  <a:lnTo>
                    <a:pt x="203" y="192"/>
                  </a:lnTo>
                  <a:lnTo>
                    <a:pt x="257" y="214"/>
                  </a:lnTo>
                  <a:lnTo>
                    <a:pt x="277" y="263"/>
                  </a:lnTo>
                  <a:lnTo>
                    <a:pt x="265" y="263"/>
                  </a:lnTo>
                  <a:lnTo>
                    <a:pt x="265" y="311"/>
                  </a:lnTo>
                  <a:lnTo>
                    <a:pt x="284" y="311"/>
                  </a:lnTo>
                  <a:lnTo>
                    <a:pt x="349" y="311"/>
                  </a:lnTo>
                  <a:lnTo>
                    <a:pt x="349" y="185"/>
                  </a:lnTo>
                  <a:lnTo>
                    <a:pt x="320" y="185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actory8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8E8FB9D-2633-4AFC-A5FE-3490AE9C71D2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3751242" y="1324820"/>
            <a:ext cx="409538" cy="407194"/>
            <a:chOff x="4216401" y="80962"/>
            <a:chExt cx="831850" cy="827088"/>
          </a:xfrm>
          <a:solidFill>
            <a:schemeClr val="accent1"/>
          </a:solidFill>
        </p:grpSpPr>
        <p:sp>
          <p:nvSpPr>
            <p:cNvPr id="10" name="Freeform 105">
              <a:extLst>
                <a:ext uri="{FF2B5EF4-FFF2-40B4-BE49-F238E27FC236}">
                  <a16:creationId xmlns:a16="http://schemas.microsoft.com/office/drawing/2014/main" id="{571288F5-C3ED-47CA-9843-A65F952DD7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16401" y="558800"/>
              <a:ext cx="831850" cy="349250"/>
            </a:xfrm>
            <a:custGeom>
              <a:avLst/>
              <a:gdLst>
                <a:gd name="T0" fmla="*/ 998 w 1092"/>
                <a:gd name="T1" fmla="*/ 415 h 457"/>
                <a:gd name="T2" fmla="*/ 688 w 1092"/>
                <a:gd name="T3" fmla="*/ 415 h 457"/>
                <a:gd name="T4" fmla="*/ 688 w 1092"/>
                <a:gd name="T5" fmla="*/ 325 h 457"/>
                <a:gd name="T6" fmla="*/ 756 w 1092"/>
                <a:gd name="T7" fmla="*/ 325 h 457"/>
                <a:gd name="T8" fmla="*/ 760 w 1092"/>
                <a:gd name="T9" fmla="*/ 320 h 457"/>
                <a:gd name="T10" fmla="*/ 760 w 1092"/>
                <a:gd name="T11" fmla="*/ 234 h 457"/>
                <a:gd name="T12" fmla="*/ 756 w 1092"/>
                <a:gd name="T13" fmla="*/ 230 h 457"/>
                <a:gd name="T14" fmla="*/ 688 w 1092"/>
                <a:gd name="T15" fmla="*/ 230 h 457"/>
                <a:gd name="T16" fmla="*/ 688 w 1092"/>
                <a:gd name="T17" fmla="*/ 158 h 457"/>
                <a:gd name="T18" fmla="*/ 998 w 1092"/>
                <a:gd name="T19" fmla="*/ 158 h 457"/>
                <a:gd name="T20" fmla="*/ 998 w 1092"/>
                <a:gd name="T21" fmla="*/ 415 h 457"/>
                <a:gd name="T22" fmla="*/ 1039 w 1092"/>
                <a:gd name="T23" fmla="*/ 415 h 457"/>
                <a:gd name="T24" fmla="*/ 1039 w 1092"/>
                <a:gd name="T25" fmla="*/ 137 h 457"/>
                <a:gd name="T26" fmla="*/ 1018 w 1092"/>
                <a:gd name="T27" fmla="*/ 116 h 457"/>
                <a:gd name="T28" fmla="*/ 688 w 1092"/>
                <a:gd name="T29" fmla="*/ 116 h 457"/>
                <a:gd name="T30" fmla="*/ 688 w 1092"/>
                <a:gd name="T31" fmla="*/ 21 h 457"/>
                <a:gd name="T32" fmla="*/ 667 w 1092"/>
                <a:gd name="T33" fmla="*/ 0 h 457"/>
                <a:gd name="T34" fmla="*/ 418 w 1092"/>
                <a:gd name="T35" fmla="*/ 0 h 457"/>
                <a:gd name="T36" fmla="*/ 421 w 1092"/>
                <a:gd name="T37" fmla="*/ 42 h 457"/>
                <a:gd name="T38" fmla="*/ 646 w 1092"/>
                <a:gd name="T39" fmla="*/ 42 h 457"/>
                <a:gd name="T40" fmla="*/ 646 w 1092"/>
                <a:gd name="T41" fmla="*/ 415 h 457"/>
                <a:gd name="T42" fmla="*/ 402 w 1092"/>
                <a:gd name="T43" fmla="*/ 415 h 457"/>
                <a:gd name="T44" fmla="*/ 384 w 1092"/>
                <a:gd name="T45" fmla="*/ 113 h 457"/>
                <a:gd name="T46" fmla="*/ 265 w 1092"/>
                <a:gd name="T47" fmla="*/ 113 h 457"/>
                <a:gd name="T48" fmla="*/ 283 w 1092"/>
                <a:gd name="T49" fmla="*/ 415 h 457"/>
                <a:gd name="T50" fmla="*/ 242 w 1092"/>
                <a:gd name="T51" fmla="*/ 415 h 457"/>
                <a:gd name="T52" fmla="*/ 220 w 1092"/>
                <a:gd name="T53" fmla="*/ 62 h 457"/>
                <a:gd name="T54" fmla="*/ 59 w 1092"/>
                <a:gd name="T55" fmla="*/ 62 h 457"/>
                <a:gd name="T56" fmla="*/ 38 w 1092"/>
                <a:gd name="T57" fmla="*/ 415 h 457"/>
                <a:gd name="T58" fmla="*/ 0 w 1092"/>
                <a:gd name="T59" fmla="*/ 415 h 457"/>
                <a:gd name="T60" fmla="*/ 0 w 1092"/>
                <a:gd name="T61" fmla="*/ 457 h 457"/>
                <a:gd name="T62" fmla="*/ 1092 w 1092"/>
                <a:gd name="T63" fmla="*/ 457 h 457"/>
                <a:gd name="T64" fmla="*/ 1092 w 1092"/>
                <a:gd name="T65" fmla="*/ 415 h 457"/>
                <a:gd name="T66" fmla="*/ 1039 w 1092"/>
                <a:gd name="T67" fmla="*/ 415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2" h="457">
                  <a:moveTo>
                    <a:pt x="998" y="415"/>
                  </a:moveTo>
                  <a:lnTo>
                    <a:pt x="688" y="415"/>
                  </a:lnTo>
                  <a:lnTo>
                    <a:pt x="688" y="325"/>
                  </a:lnTo>
                  <a:lnTo>
                    <a:pt x="756" y="325"/>
                  </a:lnTo>
                  <a:cubicBezTo>
                    <a:pt x="758" y="325"/>
                    <a:pt x="760" y="323"/>
                    <a:pt x="760" y="320"/>
                  </a:cubicBezTo>
                  <a:lnTo>
                    <a:pt x="760" y="234"/>
                  </a:lnTo>
                  <a:cubicBezTo>
                    <a:pt x="760" y="232"/>
                    <a:pt x="758" y="230"/>
                    <a:pt x="756" y="230"/>
                  </a:cubicBezTo>
                  <a:lnTo>
                    <a:pt x="688" y="230"/>
                  </a:lnTo>
                  <a:lnTo>
                    <a:pt x="688" y="158"/>
                  </a:lnTo>
                  <a:lnTo>
                    <a:pt x="998" y="158"/>
                  </a:lnTo>
                  <a:lnTo>
                    <a:pt x="998" y="415"/>
                  </a:lnTo>
                  <a:close/>
                  <a:moveTo>
                    <a:pt x="1039" y="415"/>
                  </a:moveTo>
                  <a:lnTo>
                    <a:pt x="1039" y="137"/>
                  </a:lnTo>
                  <a:cubicBezTo>
                    <a:pt x="1039" y="125"/>
                    <a:pt x="1030" y="116"/>
                    <a:pt x="1018" y="116"/>
                  </a:cubicBezTo>
                  <a:lnTo>
                    <a:pt x="688" y="116"/>
                  </a:lnTo>
                  <a:lnTo>
                    <a:pt x="688" y="21"/>
                  </a:lnTo>
                  <a:cubicBezTo>
                    <a:pt x="688" y="9"/>
                    <a:pt x="678" y="0"/>
                    <a:pt x="667" y="0"/>
                  </a:cubicBezTo>
                  <a:lnTo>
                    <a:pt x="418" y="0"/>
                  </a:lnTo>
                  <a:lnTo>
                    <a:pt x="421" y="42"/>
                  </a:lnTo>
                  <a:lnTo>
                    <a:pt x="646" y="42"/>
                  </a:lnTo>
                  <a:lnTo>
                    <a:pt x="646" y="415"/>
                  </a:lnTo>
                  <a:lnTo>
                    <a:pt x="402" y="415"/>
                  </a:lnTo>
                  <a:lnTo>
                    <a:pt x="384" y="113"/>
                  </a:lnTo>
                  <a:lnTo>
                    <a:pt x="265" y="113"/>
                  </a:lnTo>
                  <a:lnTo>
                    <a:pt x="283" y="415"/>
                  </a:lnTo>
                  <a:lnTo>
                    <a:pt x="242" y="415"/>
                  </a:lnTo>
                  <a:lnTo>
                    <a:pt x="220" y="62"/>
                  </a:lnTo>
                  <a:lnTo>
                    <a:pt x="59" y="62"/>
                  </a:lnTo>
                  <a:lnTo>
                    <a:pt x="38" y="415"/>
                  </a:lnTo>
                  <a:lnTo>
                    <a:pt x="0" y="415"/>
                  </a:lnTo>
                  <a:lnTo>
                    <a:pt x="0" y="457"/>
                  </a:lnTo>
                  <a:lnTo>
                    <a:pt x="1092" y="457"/>
                  </a:lnTo>
                  <a:lnTo>
                    <a:pt x="1092" y="415"/>
                  </a:lnTo>
                  <a:lnTo>
                    <a:pt x="1039" y="415"/>
                  </a:lnTo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 106">
              <a:extLst>
                <a:ext uri="{FF2B5EF4-FFF2-40B4-BE49-F238E27FC236}">
                  <a16:creationId xmlns:a16="http://schemas.microsoft.com/office/drawing/2014/main" id="{92838782-D60B-405F-9FA8-366ADEC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8351" y="639762"/>
              <a:ext cx="74613" cy="73025"/>
            </a:xfrm>
            <a:custGeom>
              <a:avLst/>
              <a:gdLst>
                <a:gd name="T0" fmla="*/ 93 w 97"/>
                <a:gd name="T1" fmla="*/ 0 h 95"/>
                <a:gd name="T2" fmla="*/ 4 w 97"/>
                <a:gd name="T3" fmla="*/ 0 h 95"/>
                <a:gd name="T4" fmla="*/ 0 w 97"/>
                <a:gd name="T5" fmla="*/ 5 h 95"/>
                <a:gd name="T6" fmla="*/ 0 w 97"/>
                <a:gd name="T7" fmla="*/ 91 h 95"/>
                <a:gd name="T8" fmla="*/ 4 w 97"/>
                <a:gd name="T9" fmla="*/ 95 h 95"/>
                <a:gd name="T10" fmla="*/ 93 w 97"/>
                <a:gd name="T11" fmla="*/ 95 h 95"/>
                <a:gd name="T12" fmla="*/ 97 w 97"/>
                <a:gd name="T13" fmla="*/ 91 h 95"/>
                <a:gd name="T14" fmla="*/ 97 w 97"/>
                <a:gd name="T15" fmla="*/ 5 h 95"/>
                <a:gd name="T16" fmla="*/ 93 w 97"/>
                <a:gd name="T1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7" h="95">
                  <a:moveTo>
                    <a:pt x="93" y="0"/>
                  </a:moveTo>
                  <a:lnTo>
                    <a:pt x="4" y="0"/>
                  </a:lnTo>
                  <a:cubicBezTo>
                    <a:pt x="2" y="0"/>
                    <a:pt x="0" y="2"/>
                    <a:pt x="0" y="5"/>
                  </a:cubicBezTo>
                  <a:lnTo>
                    <a:pt x="0" y="91"/>
                  </a:lnTo>
                  <a:cubicBezTo>
                    <a:pt x="0" y="93"/>
                    <a:pt x="2" y="95"/>
                    <a:pt x="4" y="95"/>
                  </a:cubicBezTo>
                  <a:lnTo>
                    <a:pt x="93" y="95"/>
                  </a:lnTo>
                  <a:cubicBezTo>
                    <a:pt x="95" y="95"/>
                    <a:pt x="97" y="93"/>
                    <a:pt x="97" y="91"/>
                  </a:cubicBezTo>
                  <a:lnTo>
                    <a:pt x="97" y="5"/>
                  </a:lnTo>
                  <a:cubicBezTo>
                    <a:pt x="97" y="2"/>
                    <a:pt x="95" y="0"/>
                    <a:pt x="93" y="0"/>
                  </a:cubicBez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 107">
              <a:extLst>
                <a:ext uri="{FF2B5EF4-FFF2-40B4-BE49-F238E27FC236}">
                  <a16:creationId xmlns:a16="http://schemas.microsoft.com/office/drawing/2014/main" id="{831BC197-91EB-40F6-95C5-197EB51B2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8351" y="757237"/>
              <a:ext cx="74613" cy="71438"/>
            </a:xfrm>
            <a:custGeom>
              <a:avLst/>
              <a:gdLst>
                <a:gd name="T0" fmla="*/ 93 w 97"/>
                <a:gd name="T1" fmla="*/ 0 h 94"/>
                <a:gd name="T2" fmla="*/ 4 w 97"/>
                <a:gd name="T3" fmla="*/ 0 h 94"/>
                <a:gd name="T4" fmla="*/ 0 w 97"/>
                <a:gd name="T5" fmla="*/ 4 h 94"/>
                <a:gd name="T6" fmla="*/ 0 w 97"/>
                <a:gd name="T7" fmla="*/ 90 h 94"/>
                <a:gd name="T8" fmla="*/ 4 w 97"/>
                <a:gd name="T9" fmla="*/ 94 h 94"/>
                <a:gd name="T10" fmla="*/ 93 w 97"/>
                <a:gd name="T11" fmla="*/ 94 h 94"/>
                <a:gd name="T12" fmla="*/ 97 w 97"/>
                <a:gd name="T13" fmla="*/ 90 h 94"/>
                <a:gd name="T14" fmla="*/ 97 w 97"/>
                <a:gd name="T15" fmla="*/ 4 h 94"/>
                <a:gd name="T16" fmla="*/ 93 w 97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7" h="94">
                  <a:moveTo>
                    <a:pt x="93" y="0"/>
                  </a:moveTo>
                  <a:lnTo>
                    <a:pt x="4" y="0"/>
                  </a:lnTo>
                  <a:cubicBezTo>
                    <a:pt x="2" y="0"/>
                    <a:pt x="0" y="1"/>
                    <a:pt x="0" y="4"/>
                  </a:cubicBezTo>
                  <a:lnTo>
                    <a:pt x="0" y="90"/>
                  </a:lnTo>
                  <a:cubicBezTo>
                    <a:pt x="0" y="93"/>
                    <a:pt x="2" y="94"/>
                    <a:pt x="4" y="94"/>
                  </a:cubicBezTo>
                  <a:lnTo>
                    <a:pt x="93" y="94"/>
                  </a:lnTo>
                  <a:cubicBezTo>
                    <a:pt x="95" y="94"/>
                    <a:pt x="97" y="93"/>
                    <a:pt x="97" y="90"/>
                  </a:cubicBezTo>
                  <a:lnTo>
                    <a:pt x="97" y="4"/>
                  </a:lnTo>
                  <a:cubicBezTo>
                    <a:pt x="97" y="1"/>
                    <a:pt x="95" y="0"/>
                    <a:pt x="93" y="0"/>
                  </a:cubicBez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 108">
              <a:extLst>
                <a:ext uri="{FF2B5EF4-FFF2-40B4-BE49-F238E27FC236}">
                  <a16:creationId xmlns:a16="http://schemas.microsoft.com/office/drawing/2014/main" id="{A6713956-54B1-4223-8883-0EC837976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076" y="469900"/>
              <a:ext cx="107950" cy="112713"/>
            </a:xfrm>
            <a:custGeom>
              <a:avLst/>
              <a:gdLst>
                <a:gd name="T0" fmla="*/ 141 w 141"/>
                <a:gd name="T1" fmla="*/ 66 h 148"/>
                <a:gd name="T2" fmla="*/ 124 w 141"/>
                <a:gd name="T3" fmla="*/ 49 h 148"/>
                <a:gd name="T4" fmla="*/ 118 w 141"/>
                <a:gd name="T5" fmla="*/ 49 h 148"/>
                <a:gd name="T6" fmla="*/ 118 w 141"/>
                <a:gd name="T7" fmla="*/ 34 h 148"/>
                <a:gd name="T8" fmla="*/ 92 w 141"/>
                <a:gd name="T9" fmla="*/ 0 h 148"/>
                <a:gd name="T10" fmla="*/ 26 w 141"/>
                <a:gd name="T11" fmla="*/ 0 h 148"/>
                <a:gd name="T12" fmla="*/ 1 w 141"/>
                <a:gd name="T13" fmla="*/ 34 h 148"/>
                <a:gd name="T14" fmla="*/ 0 w 141"/>
                <a:gd name="T15" fmla="*/ 49 h 148"/>
                <a:gd name="T16" fmla="*/ 4 w 141"/>
                <a:gd name="T17" fmla="*/ 112 h 148"/>
                <a:gd name="T18" fmla="*/ 6 w 141"/>
                <a:gd name="T19" fmla="*/ 148 h 148"/>
                <a:gd name="T20" fmla="*/ 124 w 141"/>
                <a:gd name="T21" fmla="*/ 148 h 148"/>
                <a:gd name="T22" fmla="*/ 120 w 141"/>
                <a:gd name="T23" fmla="*/ 82 h 148"/>
                <a:gd name="T24" fmla="*/ 124 w 141"/>
                <a:gd name="T25" fmla="*/ 82 h 148"/>
                <a:gd name="T26" fmla="*/ 141 w 141"/>
                <a:gd name="T27" fmla="*/ 6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1" h="148">
                  <a:moveTo>
                    <a:pt x="141" y="66"/>
                  </a:moveTo>
                  <a:cubicBezTo>
                    <a:pt x="141" y="57"/>
                    <a:pt x="134" y="49"/>
                    <a:pt x="124" y="49"/>
                  </a:cubicBezTo>
                  <a:lnTo>
                    <a:pt x="118" y="49"/>
                  </a:lnTo>
                  <a:lnTo>
                    <a:pt x="118" y="34"/>
                  </a:lnTo>
                  <a:cubicBezTo>
                    <a:pt x="117" y="9"/>
                    <a:pt x="103" y="0"/>
                    <a:pt x="92" y="0"/>
                  </a:cubicBezTo>
                  <a:lnTo>
                    <a:pt x="26" y="0"/>
                  </a:lnTo>
                  <a:cubicBezTo>
                    <a:pt x="15" y="0"/>
                    <a:pt x="2" y="9"/>
                    <a:pt x="1" y="34"/>
                  </a:cubicBezTo>
                  <a:lnTo>
                    <a:pt x="0" y="49"/>
                  </a:lnTo>
                  <a:lnTo>
                    <a:pt x="4" y="112"/>
                  </a:lnTo>
                  <a:lnTo>
                    <a:pt x="6" y="148"/>
                  </a:lnTo>
                  <a:lnTo>
                    <a:pt x="124" y="148"/>
                  </a:lnTo>
                  <a:lnTo>
                    <a:pt x="120" y="82"/>
                  </a:lnTo>
                  <a:lnTo>
                    <a:pt x="124" y="82"/>
                  </a:lnTo>
                  <a:cubicBezTo>
                    <a:pt x="134" y="82"/>
                    <a:pt x="141" y="75"/>
                    <a:pt x="141" y="66"/>
                  </a:cubicBez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 109">
              <a:extLst>
                <a:ext uri="{FF2B5EF4-FFF2-40B4-BE49-F238E27FC236}">
                  <a16:creationId xmlns:a16="http://schemas.microsoft.com/office/drawing/2014/main" id="{1B949E22-B527-4CC9-AFCC-08BC3A08A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501" y="387350"/>
              <a:ext cx="136525" cy="155575"/>
            </a:xfrm>
            <a:custGeom>
              <a:avLst/>
              <a:gdLst>
                <a:gd name="T0" fmla="*/ 16 w 180"/>
                <a:gd name="T1" fmla="*/ 95 h 204"/>
                <a:gd name="T2" fmla="*/ 21 w 180"/>
                <a:gd name="T3" fmla="*/ 95 h 204"/>
                <a:gd name="T4" fmla="*/ 15 w 180"/>
                <a:gd name="T5" fmla="*/ 204 h 204"/>
                <a:gd name="T6" fmla="*/ 165 w 180"/>
                <a:gd name="T7" fmla="*/ 204 h 204"/>
                <a:gd name="T8" fmla="*/ 158 w 180"/>
                <a:gd name="T9" fmla="*/ 95 h 204"/>
                <a:gd name="T10" fmla="*/ 163 w 180"/>
                <a:gd name="T11" fmla="*/ 95 h 204"/>
                <a:gd name="T12" fmla="*/ 180 w 180"/>
                <a:gd name="T13" fmla="*/ 78 h 204"/>
                <a:gd name="T14" fmla="*/ 163 w 180"/>
                <a:gd name="T15" fmla="*/ 61 h 204"/>
                <a:gd name="T16" fmla="*/ 156 w 180"/>
                <a:gd name="T17" fmla="*/ 61 h 204"/>
                <a:gd name="T18" fmla="*/ 155 w 180"/>
                <a:gd name="T19" fmla="*/ 40 h 204"/>
                <a:gd name="T20" fmla="*/ 124 w 180"/>
                <a:gd name="T21" fmla="*/ 0 h 204"/>
                <a:gd name="T22" fmla="*/ 55 w 180"/>
                <a:gd name="T23" fmla="*/ 0 h 204"/>
                <a:gd name="T24" fmla="*/ 25 w 180"/>
                <a:gd name="T25" fmla="*/ 40 h 204"/>
                <a:gd name="T26" fmla="*/ 23 w 180"/>
                <a:gd name="T27" fmla="*/ 61 h 204"/>
                <a:gd name="T28" fmla="*/ 16 w 180"/>
                <a:gd name="T29" fmla="*/ 61 h 204"/>
                <a:gd name="T30" fmla="*/ 0 w 180"/>
                <a:gd name="T31" fmla="*/ 78 h 204"/>
                <a:gd name="T32" fmla="*/ 16 w 180"/>
                <a:gd name="T33" fmla="*/ 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0" h="204">
                  <a:moveTo>
                    <a:pt x="16" y="95"/>
                  </a:moveTo>
                  <a:lnTo>
                    <a:pt x="21" y="95"/>
                  </a:lnTo>
                  <a:lnTo>
                    <a:pt x="15" y="204"/>
                  </a:lnTo>
                  <a:lnTo>
                    <a:pt x="165" y="204"/>
                  </a:lnTo>
                  <a:lnTo>
                    <a:pt x="158" y="95"/>
                  </a:lnTo>
                  <a:lnTo>
                    <a:pt x="163" y="95"/>
                  </a:lnTo>
                  <a:cubicBezTo>
                    <a:pt x="172" y="95"/>
                    <a:pt x="180" y="87"/>
                    <a:pt x="180" y="78"/>
                  </a:cubicBezTo>
                  <a:cubicBezTo>
                    <a:pt x="180" y="69"/>
                    <a:pt x="172" y="61"/>
                    <a:pt x="163" y="61"/>
                  </a:cubicBezTo>
                  <a:lnTo>
                    <a:pt x="156" y="61"/>
                  </a:lnTo>
                  <a:lnTo>
                    <a:pt x="155" y="40"/>
                  </a:lnTo>
                  <a:cubicBezTo>
                    <a:pt x="154" y="10"/>
                    <a:pt x="138" y="0"/>
                    <a:pt x="124" y="0"/>
                  </a:cubicBezTo>
                  <a:lnTo>
                    <a:pt x="55" y="0"/>
                  </a:lnTo>
                  <a:cubicBezTo>
                    <a:pt x="42" y="0"/>
                    <a:pt x="26" y="10"/>
                    <a:pt x="25" y="40"/>
                  </a:cubicBezTo>
                  <a:lnTo>
                    <a:pt x="23" y="61"/>
                  </a:lnTo>
                  <a:lnTo>
                    <a:pt x="16" y="61"/>
                  </a:lnTo>
                  <a:cubicBezTo>
                    <a:pt x="7" y="61"/>
                    <a:pt x="0" y="69"/>
                    <a:pt x="0" y="78"/>
                  </a:cubicBezTo>
                  <a:cubicBezTo>
                    <a:pt x="0" y="87"/>
                    <a:pt x="7" y="95"/>
                    <a:pt x="16" y="95"/>
                  </a:cubicBez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 110">
              <a:extLst>
                <a:ext uri="{FF2B5EF4-FFF2-40B4-BE49-F238E27FC236}">
                  <a16:creationId xmlns:a16="http://schemas.microsoft.com/office/drawing/2014/main" id="{32F9637D-6B93-4BCE-8AEA-2E720D452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0876" y="190500"/>
              <a:ext cx="476250" cy="244475"/>
            </a:xfrm>
            <a:custGeom>
              <a:avLst/>
              <a:gdLst>
                <a:gd name="T0" fmla="*/ 452 w 625"/>
                <a:gd name="T1" fmla="*/ 50 h 321"/>
                <a:gd name="T2" fmla="*/ 456 w 625"/>
                <a:gd name="T3" fmla="*/ 53 h 321"/>
                <a:gd name="T4" fmla="*/ 476 w 625"/>
                <a:gd name="T5" fmla="*/ 58 h 321"/>
                <a:gd name="T6" fmla="*/ 499 w 625"/>
                <a:gd name="T7" fmla="*/ 55 h 321"/>
                <a:gd name="T8" fmla="*/ 583 w 625"/>
                <a:gd name="T9" fmla="*/ 145 h 321"/>
                <a:gd name="T10" fmla="*/ 499 w 625"/>
                <a:gd name="T11" fmla="*/ 235 h 321"/>
                <a:gd name="T12" fmla="*/ 138 w 625"/>
                <a:gd name="T13" fmla="*/ 235 h 321"/>
                <a:gd name="T14" fmla="*/ 44 w 625"/>
                <a:gd name="T15" fmla="*/ 259 h 321"/>
                <a:gd name="T16" fmla="*/ 61 w 625"/>
                <a:gd name="T17" fmla="*/ 189 h 321"/>
                <a:gd name="T18" fmla="*/ 16 w 625"/>
                <a:gd name="T19" fmla="*/ 189 h 321"/>
                <a:gd name="T20" fmla="*/ 0 w 625"/>
                <a:gd name="T21" fmla="*/ 301 h 321"/>
                <a:gd name="T22" fmla="*/ 13 w 625"/>
                <a:gd name="T23" fmla="*/ 320 h 321"/>
                <a:gd name="T24" fmla="*/ 21 w 625"/>
                <a:gd name="T25" fmla="*/ 321 h 321"/>
                <a:gd name="T26" fmla="*/ 36 w 625"/>
                <a:gd name="T27" fmla="*/ 315 h 321"/>
                <a:gd name="T28" fmla="*/ 138 w 625"/>
                <a:gd name="T29" fmla="*/ 276 h 321"/>
                <a:gd name="T30" fmla="*/ 499 w 625"/>
                <a:gd name="T31" fmla="*/ 276 h 321"/>
                <a:gd name="T32" fmla="*/ 625 w 625"/>
                <a:gd name="T33" fmla="*/ 145 h 321"/>
                <a:gd name="T34" fmla="*/ 499 w 625"/>
                <a:gd name="T35" fmla="*/ 13 h 321"/>
                <a:gd name="T36" fmla="*/ 476 w 625"/>
                <a:gd name="T37" fmla="*/ 15 h 321"/>
                <a:gd name="T38" fmla="*/ 453 w 625"/>
                <a:gd name="T39" fmla="*/ 0 h 321"/>
                <a:gd name="T40" fmla="*/ 455 w 625"/>
                <a:gd name="T41" fmla="*/ 23 h 321"/>
                <a:gd name="T42" fmla="*/ 452 w 625"/>
                <a:gd name="T43" fmla="*/ 5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25" h="321">
                  <a:moveTo>
                    <a:pt x="452" y="50"/>
                  </a:moveTo>
                  <a:cubicBezTo>
                    <a:pt x="454" y="51"/>
                    <a:pt x="455" y="52"/>
                    <a:pt x="456" y="53"/>
                  </a:cubicBezTo>
                  <a:cubicBezTo>
                    <a:pt x="461" y="58"/>
                    <a:pt x="469" y="60"/>
                    <a:pt x="476" y="58"/>
                  </a:cubicBezTo>
                  <a:cubicBezTo>
                    <a:pt x="484" y="56"/>
                    <a:pt x="491" y="55"/>
                    <a:pt x="499" y="55"/>
                  </a:cubicBezTo>
                  <a:cubicBezTo>
                    <a:pt x="545" y="55"/>
                    <a:pt x="583" y="95"/>
                    <a:pt x="583" y="145"/>
                  </a:cubicBezTo>
                  <a:cubicBezTo>
                    <a:pt x="583" y="194"/>
                    <a:pt x="545" y="235"/>
                    <a:pt x="499" y="235"/>
                  </a:cubicBezTo>
                  <a:lnTo>
                    <a:pt x="138" y="235"/>
                  </a:lnTo>
                  <a:cubicBezTo>
                    <a:pt x="99" y="235"/>
                    <a:pt x="67" y="247"/>
                    <a:pt x="44" y="259"/>
                  </a:cubicBezTo>
                  <a:cubicBezTo>
                    <a:pt x="47" y="233"/>
                    <a:pt x="53" y="210"/>
                    <a:pt x="61" y="189"/>
                  </a:cubicBezTo>
                  <a:lnTo>
                    <a:pt x="16" y="189"/>
                  </a:lnTo>
                  <a:cubicBezTo>
                    <a:pt x="6" y="222"/>
                    <a:pt x="0" y="259"/>
                    <a:pt x="0" y="301"/>
                  </a:cubicBezTo>
                  <a:cubicBezTo>
                    <a:pt x="0" y="309"/>
                    <a:pt x="6" y="317"/>
                    <a:pt x="13" y="320"/>
                  </a:cubicBezTo>
                  <a:cubicBezTo>
                    <a:pt x="16" y="321"/>
                    <a:pt x="19" y="321"/>
                    <a:pt x="21" y="321"/>
                  </a:cubicBezTo>
                  <a:cubicBezTo>
                    <a:pt x="27" y="321"/>
                    <a:pt x="32" y="319"/>
                    <a:pt x="36" y="315"/>
                  </a:cubicBezTo>
                  <a:cubicBezTo>
                    <a:pt x="36" y="315"/>
                    <a:pt x="76" y="276"/>
                    <a:pt x="138" y="276"/>
                  </a:cubicBezTo>
                  <a:lnTo>
                    <a:pt x="499" y="276"/>
                  </a:lnTo>
                  <a:cubicBezTo>
                    <a:pt x="568" y="276"/>
                    <a:pt x="625" y="217"/>
                    <a:pt x="625" y="145"/>
                  </a:cubicBezTo>
                  <a:cubicBezTo>
                    <a:pt x="625" y="72"/>
                    <a:pt x="568" y="13"/>
                    <a:pt x="499" y="13"/>
                  </a:cubicBezTo>
                  <a:cubicBezTo>
                    <a:pt x="491" y="13"/>
                    <a:pt x="484" y="14"/>
                    <a:pt x="476" y="15"/>
                  </a:cubicBezTo>
                  <a:cubicBezTo>
                    <a:pt x="469" y="10"/>
                    <a:pt x="461" y="5"/>
                    <a:pt x="453" y="0"/>
                  </a:cubicBezTo>
                  <a:cubicBezTo>
                    <a:pt x="454" y="8"/>
                    <a:pt x="455" y="15"/>
                    <a:pt x="455" y="23"/>
                  </a:cubicBezTo>
                  <a:cubicBezTo>
                    <a:pt x="455" y="32"/>
                    <a:pt x="454" y="41"/>
                    <a:pt x="452" y="50"/>
                  </a:cubicBezTo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 111">
              <a:extLst>
                <a:ext uri="{FF2B5EF4-FFF2-40B4-BE49-F238E27FC236}">
                  <a16:creationId xmlns:a16="http://schemas.microsoft.com/office/drawing/2014/main" id="{E19D9AD0-249B-4BA4-9828-6E4487CFE3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6251" y="80962"/>
              <a:ext cx="498475" cy="266700"/>
            </a:xfrm>
            <a:custGeom>
              <a:avLst/>
              <a:gdLst>
                <a:gd name="T0" fmla="*/ 217 w 654"/>
                <a:gd name="T1" fmla="*/ 101 h 352"/>
                <a:gd name="T2" fmla="*/ 282 w 654"/>
                <a:gd name="T3" fmla="*/ 72 h 352"/>
                <a:gd name="T4" fmla="*/ 313 w 654"/>
                <a:gd name="T5" fmla="*/ 78 h 352"/>
                <a:gd name="T6" fmla="*/ 336 w 654"/>
                <a:gd name="T7" fmla="*/ 73 h 352"/>
                <a:gd name="T8" fmla="*/ 409 w 654"/>
                <a:gd name="T9" fmla="*/ 41 h 352"/>
                <a:gd name="T10" fmla="*/ 479 w 654"/>
                <a:gd name="T11" fmla="*/ 70 h 352"/>
                <a:gd name="T12" fmla="*/ 499 w 654"/>
                <a:gd name="T13" fmla="*/ 75 h 352"/>
                <a:gd name="T14" fmla="*/ 523 w 654"/>
                <a:gd name="T15" fmla="*/ 72 h 352"/>
                <a:gd name="T16" fmla="*/ 613 w 654"/>
                <a:gd name="T17" fmla="*/ 167 h 352"/>
                <a:gd name="T18" fmla="*/ 523 w 654"/>
                <a:gd name="T19" fmla="*/ 263 h 352"/>
                <a:gd name="T20" fmla="*/ 143 w 654"/>
                <a:gd name="T21" fmla="*/ 263 h 352"/>
                <a:gd name="T22" fmla="*/ 44 w 654"/>
                <a:gd name="T23" fmla="*/ 289 h 352"/>
                <a:gd name="T24" fmla="*/ 203 w 654"/>
                <a:gd name="T25" fmla="*/ 108 h 352"/>
                <a:gd name="T26" fmla="*/ 217 w 654"/>
                <a:gd name="T27" fmla="*/ 101 h 352"/>
                <a:gd name="T28" fmla="*/ 13 w 654"/>
                <a:gd name="T29" fmla="*/ 350 h 352"/>
                <a:gd name="T30" fmla="*/ 21 w 654"/>
                <a:gd name="T31" fmla="*/ 352 h 352"/>
                <a:gd name="T32" fmla="*/ 36 w 654"/>
                <a:gd name="T33" fmla="*/ 346 h 352"/>
                <a:gd name="T34" fmla="*/ 143 w 654"/>
                <a:gd name="T35" fmla="*/ 304 h 352"/>
                <a:gd name="T36" fmla="*/ 523 w 654"/>
                <a:gd name="T37" fmla="*/ 304 h 352"/>
                <a:gd name="T38" fmla="*/ 654 w 654"/>
                <a:gd name="T39" fmla="*/ 167 h 352"/>
                <a:gd name="T40" fmla="*/ 523 w 654"/>
                <a:gd name="T41" fmla="*/ 30 h 352"/>
                <a:gd name="T42" fmla="*/ 499 w 654"/>
                <a:gd name="T43" fmla="*/ 32 h 352"/>
                <a:gd name="T44" fmla="*/ 409 w 654"/>
                <a:gd name="T45" fmla="*/ 0 h 352"/>
                <a:gd name="T46" fmla="*/ 316 w 654"/>
                <a:gd name="T47" fmla="*/ 35 h 352"/>
                <a:gd name="T48" fmla="*/ 282 w 654"/>
                <a:gd name="T49" fmla="*/ 30 h 352"/>
                <a:gd name="T50" fmla="*/ 192 w 654"/>
                <a:gd name="T51" fmla="*/ 67 h 352"/>
                <a:gd name="T52" fmla="*/ 0 w 654"/>
                <a:gd name="T53" fmla="*/ 331 h 352"/>
                <a:gd name="T54" fmla="*/ 13 w 654"/>
                <a:gd name="T55" fmla="*/ 35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54" h="352">
                  <a:moveTo>
                    <a:pt x="217" y="101"/>
                  </a:moveTo>
                  <a:cubicBezTo>
                    <a:pt x="234" y="82"/>
                    <a:pt x="257" y="72"/>
                    <a:pt x="282" y="72"/>
                  </a:cubicBezTo>
                  <a:cubicBezTo>
                    <a:pt x="293" y="72"/>
                    <a:pt x="303" y="74"/>
                    <a:pt x="313" y="78"/>
                  </a:cubicBezTo>
                  <a:cubicBezTo>
                    <a:pt x="321" y="81"/>
                    <a:pt x="330" y="79"/>
                    <a:pt x="336" y="73"/>
                  </a:cubicBezTo>
                  <a:cubicBezTo>
                    <a:pt x="356" y="53"/>
                    <a:pt x="381" y="41"/>
                    <a:pt x="409" y="41"/>
                  </a:cubicBezTo>
                  <a:cubicBezTo>
                    <a:pt x="435" y="41"/>
                    <a:pt x="459" y="52"/>
                    <a:pt x="479" y="70"/>
                  </a:cubicBezTo>
                  <a:cubicBezTo>
                    <a:pt x="484" y="75"/>
                    <a:pt x="492" y="77"/>
                    <a:pt x="499" y="75"/>
                  </a:cubicBezTo>
                  <a:cubicBezTo>
                    <a:pt x="507" y="73"/>
                    <a:pt x="515" y="72"/>
                    <a:pt x="523" y="72"/>
                  </a:cubicBezTo>
                  <a:cubicBezTo>
                    <a:pt x="572" y="72"/>
                    <a:pt x="613" y="115"/>
                    <a:pt x="613" y="167"/>
                  </a:cubicBezTo>
                  <a:cubicBezTo>
                    <a:pt x="613" y="220"/>
                    <a:pt x="572" y="263"/>
                    <a:pt x="523" y="263"/>
                  </a:cubicBezTo>
                  <a:lnTo>
                    <a:pt x="143" y="263"/>
                  </a:lnTo>
                  <a:cubicBezTo>
                    <a:pt x="101" y="263"/>
                    <a:pt x="68" y="276"/>
                    <a:pt x="44" y="289"/>
                  </a:cubicBezTo>
                  <a:cubicBezTo>
                    <a:pt x="55" y="182"/>
                    <a:pt x="108" y="121"/>
                    <a:pt x="203" y="108"/>
                  </a:cubicBezTo>
                  <a:cubicBezTo>
                    <a:pt x="210" y="107"/>
                    <a:pt x="217" y="101"/>
                    <a:pt x="217" y="101"/>
                  </a:cubicBezTo>
                  <a:close/>
                  <a:moveTo>
                    <a:pt x="13" y="350"/>
                  </a:moveTo>
                  <a:cubicBezTo>
                    <a:pt x="16" y="351"/>
                    <a:pt x="18" y="352"/>
                    <a:pt x="21" y="352"/>
                  </a:cubicBezTo>
                  <a:cubicBezTo>
                    <a:pt x="27" y="352"/>
                    <a:pt x="32" y="349"/>
                    <a:pt x="36" y="346"/>
                  </a:cubicBezTo>
                  <a:cubicBezTo>
                    <a:pt x="36" y="345"/>
                    <a:pt x="78" y="304"/>
                    <a:pt x="143" y="304"/>
                  </a:cubicBezTo>
                  <a:lnTo>
                    <a:pt x="523" y="304"/>
                  </a:lnTo>
                  <a:cubicBezTo>
                    <a:pt x="595" y="304"/>
                    <a:pt x="654" y="243"/>
                    <a:pt x="654" y="167"/>
                  </a:cubicBezTo>
                  <a:cubicBezTo>
                    <a:pt x="654" y="92"/>
                    <a:pt x="595" y="30"/>
                    <a:pt x="523" y="30"/>
                  </a:cubicBezTo>
                  <a:cubicBezTo>
                    <a:pt x="515" y="30"/>
                    <a:pt x="507" y="31"/>
                    <a:pt x="499" y="32"/>
                  </a:cubicBezTo>
                  <a:cubicBezTo>
                    <a:pt x="473" y="11"/>
                    <a:pt x="442" y="0"/>
                    <a:pt x="409" y="0"/>
                  </a:cubicBezTo>
                  <a:cubicBezTo>
                    <a:pt x="375" y="0"/>
                    <a:pt x="342" y="12"/>
                    <a:pt x="316" y="35"/>
                  </a:cubicBezTo>
                  <a:cubicBezTo>
                    <a:pt x="305" y="32"/>
                    <a:pt x="293" y="30"/>
                    <a:pt x="282" y="30"/>
                  </a:cubicBezTo>
                  <a:cubicBezTo>
                    <a:pt x="248" y="30"/>
                    <a:pt x="216" y="43"/>
                    <a:pt x="192" y="67"/>
                  </a:cubicBezTo>
                  <a:cubicBezTo>
                    <a:pt x="34" y="92"/>
                    <a:pt x="0" y="224"/>
                    <a:pt x="0" y="331"/>
                  </a:cubicBezTo>
                  <a:cubicBezTo>
                    <a:pt x="0" y="339"/>
                    <a:pt x="5" y="347"/>
                    <a:pt x="13" y="350"/>
                  </a:cubicBez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 112">
              <a:extLst>
                <a:ext uri="{FF2B5EF4-FFF2-40B4-BE49-F238E27FC236}">
                  <a16:creationId xmlns:a16="http://schemas.microsoft.com/office/drawing/2014/main" id="{CEC16DA5-BFF9-4CB6-AA81-8E4BFEBE8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9813" y="735012"/>
              <a:ext cx="74613" cy="71438"/>
            </a:xfrm>
            <a:custGeom>
              <a:avLst/>
              <a:gdLst>
                <a:gd name="T0" fmla="*/ 93 w 98"/>
                <a:gd name="T1" fmla="*/ 0 h 95"/>
                <a:gd name="T2" fmla="*/ 5 w 98"/>
                <a:gd name="T3" fmla="*/ 0 h 95"/>
                <a:gd name="T4" fmla="*/ 0 w 98"/>
                <a:gd name="T5" fmla="*/ 4 h 95"/>
                <a:gd name="T6" fmla="*/ 0 w 98"/>
                <a:gd name="T7" fmla="*/ 90 h 95"/>
                <a:gd name="T8" fmla="*/ 5 w 98"/>
                <a:gd name="T9" fmla="*/ 95 h 95"/>
                <a:gd name="T10" fmla="*/ 93 w 98"/>
                <a:gd name="T11" fmla="*/ 95 h 95"/>
                <a:gd name="T12" fmla="*/ 98 w 98"/>
                <a:gd name="T13" fmla="*/ 90 h 95"/>
                <a:gd name="T14" fmla="*/ 98 w 98"/>
                <a:gd name="T15" fmla="*/ 4 h 95"/>
                <a:gd name="T16" fmla="*/ 93 w 98"/>
                <a:gd name="T1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95">
                  <a:moveTo>
                    <a:pt x="93" y="0"/>
                  </a:moveTo>
                  <a:lnTo>
                    <a:pt x="5" y="0"/>
                  </a:lnTo>
                  <a:cubicBezTo>
                    <a:pt x="2" y="0"/>
                    <a:pt x="0" y="2"/>
                    <a:pt x="0" y="4"/>
                  </a:cubicBezTo>
                  <a:lnTo>
                    <a:pt x="0" y="90"/>
                  </a:lnTo>
                  <a:cubicBezTo>
                    <a:pt x="0" y="93"/>
                    <a:pt x="2" y="95"/>
                    <a:pt x="5" y="95"/>
                  </a:cubicBezTo>
                  <a:lnTo>
                    <a:pt x="93" y="95"/>
                  </a:lnTo>
                  <a:cubicBezTo>
                    <a:pt x="96" y="95"/>
                    <a:pt x="98" y="93"/>
                    <a:pt x="98" y="90"/>
                  </a:cubicBezTo>
                  <a:lnTo>
                    <a:pt x="98" y="4"/>
                  </a:lnTo>
                  <a:cubicBezTo>
                    <a:pt x="98" y="2"/>
                    <a:pt x="96" y="0"/>
                    <a:pt x="93" y="0"/>
                  </a:cubicBez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3" name="Min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4C245A8-822A-452A-BB68-084EE8236D2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904274" y="1309918"/>
            <a:ext cx="378785" cy="407194"/>
            <a:chOff x="7473839" y="238472"/>
            <a:chExt cx="577273" cy="620568"/>
          </a:xfrm>
          <a:solidFill>
            <a:schemeClr val="accent1"/>
          </a:solidFill>
        </p:grpSpPr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3D2B419C-45AC-49BF-BD17-54A5825509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4686" y="238472"/>
              <a:ext cx="444762" cy="329308"/>
            </a:xfrm>
            <a:custGeom>
              <a:avLst/>
              <a:gdLst>
                <a:gd name="T0" fmla="*/ 2438 w 3253"/>
                <a:gd name="T1" fmla="*/ 727 h 2401"/>
                <a:gd name="T2" fmla="*/ 2287 w 3253"/>
                <a:gd name="T3" fmla="*/ 878 h 2401"/>
                <a:gd name="T4" fmla="*/ 2138 w 3253"/>
                <a:gd name="T5" fmla="*/ 576 h 2401"/>
                <a:gd name="T6" fmla="*/ 2287 w 3253"/>
                <a:gd name="T7" fmla="*/ 1011 h 2401"/>
                <a:gd name="T8" fmla="*/ 2529 w 3253"/>
                <a:gd name="T9" fmla="*/ 1161 h 2401"/>
                <a:gd name="T10" fmla="*/ 2379 w 3253"/>
                <a:gd name="T11" fmla="*/ 1312 h 2401"/>
                <a:gd name="T12" fmla="*/ 7 w 3253"/>
                <a:gd name="T13" fmla="*/ 1793 h 2401"/>
                <a:gd name="T14" fmla="*/ 1208 w 3253"/>
                <a:gd name="T15" fmla="*/ 2193 h 2401"/>
                <a:gd name="T16" fmla="*/ 1386 w 3253"/>
                <a:gd name="T17" fmla="*/ 1896 h 2401"/>
                <a:gd name="T18" fmla="*/ 1388 w 3253"/>
                <a:gd name="T19" fmla="*/ 1890 h 2401"/>
                <a:gd name="T20" fmla="*/ 1390 w 3253"/>
                <a:gd name="T21" fmla="*/ 1880 h 2401"/>
                <a:gd name="T22" fmla="*/ 1393 w 3253"/>
                <a:gd name="T23" fmla="*/ 1871 h 2401"/>
                <a:gd name="T24" fmla="*/ 1394 w 3253"/>
                <a:gd name="T25" fmla="*/ 1864 h 2401"/>
                <a:gd name="T26" fmla="*/ 1397 w 3253"/>
                <a:gd name="T27" fmla="*/ 1855 h 2401"/>
                <a:gd name="T28" fmla="*/ 1399 w 3253"/>
                <a:gd name="T29" fmla="*/ 1845 h 2401"/>
                <a:gd name="T30" fmla="*/ 1400 w 3253"/>
                <a:gd name="T31" fmla="*/ 1838 h 2401"/>
                <a:gd name="T32" fmla="*/ 1402 w 3253"/>
                <a:gd name="T33" fmla="*/ 1828 h 2401"/>
                <a:gd name="T34" fmla="*/ 1404 w 3253"/>
                <a:gd name="T35" fmla="*/ 1817 h 2401"/>
                <a:gd name="T36" fmla="*/ 1407 w 3253"/>
                <a:gd name="T37" fmla="*/ 1802 h 2401"/>
                <a:gd name="T38" fmla="*/ 1408 w 3253"/>
                <a:gd name="T39" fmla="*/ 1793 h 2401"/>
                <a:gd name="T40" fmla="*/ 1202 w 3253"/>
                <a:gd name="T41" fmla="*/ 1186 h 2401"/>
                <a:gd name="T42" fmla="*/ 1177 w 3253"/>
                <a:gd name="T43" fmla="*/ 1163 h 2401"/>
                <a:gd name="T44" fmla="*/ 1170 w 3253"/>
                <a:gd name="T45" fmla="*/ 1157 h 2401"/>
                <a:gd name="T46" fmla="*/ 1164 w 3253"/>
                <a:gd name="T47" fmla="*/ 1152 h 2401"/>
                <a:gd name="T48" fmla="*/ 1157 w 3253"/>
                <a:gd name="T49" fmla="*/ 1147 h 2401"/>
                <a:gd name="T50" fmla="*/ 1150 w 3253"/>
                <a:gd name="T51" fmla="*/ 1141 h 2401"/>
                <a:gd name="T52" fmla="*/ 1144 w 3253"/>
                <a:gd name="T53" fmla="*/ 1136 h 2401"/>
                <a:gd name="T54" fmla="*/ 1132 w 3253"/>
                <a:gd name="T55" fmla="*/ 1127 h 2401"/>
                <a:gd name="T56" fmla="*/ 1122 w 3253"/>
                <a:gd name="T57" fmla="*/ 1120 h 2401"/>
                <a:gd name="T58" fmla="*/ 1119 w 3253"/>
                <a:gd name="T59" fmla="*/ 1117 h 2401"/>
                <a:gd name="T60" fmla="*/ 1108 w 3253"/>
                <a:gd name="T61" fmla="*/ 1110 h 2401"/>
                <a:gd name="T62" fmla="*/ 1101 w 3253"/>
                <a:gd name="T63" fmla="*/ 1105 h 2401"/>
                <a:gd name="T64" fmla="*/ 1097 w 3253"/>
                <a:gd name="T65" fmla="*/ 1102 h 2401"/>
                <a:gd name="T66" fmla="*/ 1087 w 3253"/>
                <a:gd name="T67" fmla="*/ 1096 h 2401"/>
                <a:gd name="T68" fmla="*/ 1073 w 3253"/>
                <a:gd name="T69" fmla="*/ 1087 h 2401"/>
                <a:gd name="T70" fmla="*/ 1064 w 3253"/>
                <a:gd name="T71" fmla="*/ 1082 h 2401"/>
                <a:gd name="T72" fmla="*/ 1047 w 3253"/>
                <a:gd name="T73" fmla="*/ 1072 h 2401"/>
                <a:gd name="T74" fmla="*/ 707 w 3253"/>
                <a:gd name="T75" fmla="*/ 985 h 2401"/>
                <a:gd name="T76" fmla="*/ 1414 w 3253"/>
                <a:gd name="T77" fmla="*/ 1661 h 2401"/>
                <a:gd name="T78" fmla="*/ 3014 w 3253"/>
                <a:gd name="T79" fmla="*/ 1793 h 2401"/>
                <a:gd name="T80" fmla="*/ 1543 w 3253"/>
                <a:gd name="T81" fmla="*/ 1793 h 2401"/>
                <a:gd name="T82" fmla="*/ 3253 w 3253"/>
                <a:gd name="T83" fmla="*/ 1106 h 2401"/>
                <a:gd name="T84" fmla="*/ 2205 w 3253"/>
                <a:gd name="T85" fmla="*/ 1654 h 2401"/>
                <a:gd name="T86" fmla="*/ 2579 w 3253"/>
                <a:gd name="T87" fmla="*/ 1362 h 2401"/>
                <a:gd name="T88" fmla="*/ 2579 w 3253"/>
                <a:gd name="T89" fmla="*/ 961 h 2401"/>
                <a:gd name="T90" fmla="*/ 2571 w 3253"/>
                <a:gd name="T91" fmla="*/ 727 h 2401"/>
                <a:gd name="T92" fmla="*/ 2205 w 3253"/>
                <a:gd name="T93" fmla="*/ 443 h 2401"/>
                <a:gd name="T94" fmla="*/ 2072 w 3253"/>
                <a:gd name="T95" fmla="*/ 265 h 2401"/>
                <a:gd name="T96" fmla="*/ 1810 w 3253"/>
                <a:gd name="T97" fmla="*/ 482 h 2401"/>
                <a:gd name="T98" fmla="*/ 1771 w 3253"/>
                <a:gd name="T99" fmla="*/ 575 h 2401"/>
                <a:gd name="T100" fmla="*/ 1771 w 3253"/>
                <a:gd name="T101" fmla="*/ 1011 h 2401"/>
                <a:gd name="T102" fmla="*/ 1810 w 3253"/>
                <a:gd name="T103" fmla="*/ 1406 h 2401"/>
                <a:gd name="T104" fmla="*/ 1903 w 3253"/>
                <a:gd name="T105" fmla="*/ 1446 h 2401"/>
                <a:gd name="T106" fmla="*/ 2072 w 3253"/>
                <a:gd name="T107" fmla="*/ 1661 h 2401"/>
                <a:gd name="T108" fmla="*/ 1055 w 3253"/>
                <a:gd name="T109" fmla="*/ 927 h 2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53" h="2401">
                  <a:moveTo>
                    <a:pt x="2287" y="576"/>
                  </a:moveTo>
                  <a:cubicBezTo>
                    <a:pt x="2328" y="576"/>
                    <a:pt x="2366" y="593"/>
                    <a:pt x="2393" y="621"/>
                  </a:cubicBezTo>
                  <a:cubicBezTo>
                    <a:pt x="2421" y="648"/>
                    <a:pt x="2438" y="686"/>
                    <a:pt x="2438" y="727"/>
                  </a:cubicBezTo>
                  <a:lnTo>
                    <a:pt x="2438" y="727"/>
                  </a:lnTo>
                  <a:cubicBezTo>
                    <a:pt x="2438" y="768"/>
                    <a:pt x="2421" y="806"/>
                    <a:pt x="2393" y="833"/>
                  </a:cubicBezTo>
                  <a:cubicBezTo>
                    <a:pt x="2366" y="861"/>
                    <a:pt x="2328" y="878"/>
                    <a:pt x="2287" y="878"/>
                  </a:cubicBezTo>
                  <a:lnTo>
                    <a:pt x="1905" y="878"/>
                  </a:lnTo>
                  <a:lnTo>
                    <a:pt x="1905" y="576"/>
                  </a:lnTo>
                  <a:lnTo>
                    <a:pt x="2138" y="576"/>
                  </a:lnTo>
                  <a:lnTo>
                    <a:pt x="2287" y="576"/>
                  </a:lnTo>
                  <a:close/>
                  <a:moveTo>
                    <a:pt x="1905" y="1011"/>
                  </a:moveTo>
                  <a:lnTo>
                    <a:pt x="2287" y="1011"/>
                  </a:lnTo>
                  <a:lnTo>
                    <a:pt x="2379" y="1011"/>
                  </a:lnTo>
                  <a:cubicBezTo>
                    <a:pt x="2420" y="1011"/>
                    <a:pt x="2457" y="1028"/>
                    <a:pt x="2485" y="1055"/>
                  </a:cubicBezTo>
                  <a:cubicBezTo>
                    <a:pt x="2512" y="1082"/>
                    <a:pt x="2529" y="1120"/>
                    <a:pt x="2529" y="1161"/>
                  </a:cubicBezTo>
                  <a:lnTo>
                    <a:pt x="2529" y="1161"/>
                  </a:lnTo>
                  <a:cubicBezTo>
                    <a:pt x="2529" y="1203"/>
                    <a:pt x="2512" y="1240"/>
                    <a:pt x="2485" y="1268"/>
                  </a:cubicBezTo>
                  <a:cubicBezTo>
                    <a:pt x="2457" y="1295"/>
                    <a:pt x="2420" y="1312"/>
                    <a:pt x="2379" y="1312"/>
                  </a:cubicBezTo>
                  <a:lnTo>
                    <a:pt x="1905" y="1312"/>
                  </a:lnTo>
                  <a:lnTo>
                    <a:pt x="1905" y="1011"/>
                  </a:lnTo>
                  <a:close/>
                  <a:moveTo>
                    <a:pt x="7" y="1793"/>
                  </a:moveTo>
                  <a:cubicBezTo>
                    <a:pt x="29" y="1948"/>
                    <a:pt x="101" y="2088"/>
                    <a:pt x="207" y="2193"/>
                  </a:cubicBezTo>
                  <a:cubicBezTo>
                    <a:pt x="335" y="2322"/>
                    <a:pt x="512" y="2401"/>
                    <a:pt x="707" y="2401"/>
                  </a:cubicBezTo>
                  <a:cubicBezTo>
                    <a:pt x="903" y="2401"/>
                    <a:pt x="1080" y="2322"/>
                    <a:pt x="1208" y="2193"/>
                  </a:cubicBezTo>
                  <a:cubicBezTo>
                    <a:pt x="1289" y="2112"/>
                    <a:pt x="1350" y="2012"/>
                    <a:pt x="1384" y="1899"/>
                  </a:cubicBezTo>
                  <a:lnTo>
                    <a:pt x="1384" y="1899"/>
                  </a:lnTo>
                  <a:lnTo>
                    <a:pt x="1386" y="1896"/>
                  </a:lnTo>
                  <a:lnTo>
                    <a:pt x="1387" y="1893"/>
                  </a:lnTo>
                  <a:lnTo>
                    <a:pt x="1387" y="1890"/>
                  </a:lnTo>
                  <a:lnTo>
                    <a:pt x="1388" y="1890"/>
                  </a:lnTo>
                  <a:lnTo>
                    <a:pt x="1389" y="1884"/>
                  </a:lnTo>
                  <a:lnTo>
                    <a:pt x="1389" y="1884"/>
                  </a:lnTo>
                  <a:lnTo>
                    <a:pt x="1390" y="1880"/>
                  </a:lnTo>
                  <a:lnTo>
                    <a:pt x="1392" y="1875"/>
                  </a:lnTo>
                  <a:lnTo>
                    <a:pt x="1392" y="1874"/>
                  </a:lnTo>
                  <a:lnTo>
                    <a:pt x="1393" y="1871"/>
                  </a:lnTo>
                  <a:lnTo>
                    <a:pt x="1393" y="1868"/>
                  </a:lnTo>
                  <a:lnTo>
                    <a:pt x="1394" y="1867"/>
                  </a:lnTo>
                  <a:lnTo>
                    <a:pt x="1394" y="1864"/>
                  </a:lnTo>
                  <a:lnTo>
                    <a:pt x="1394" y="1864"/>
                  </a:lnTo>
                  <a:lnTo>
                    <a:pt x="1396" y="1860"/>
                  </a:lnTo>
                  <a:lnTo>
                    <a:pt x="1397" y="1855"/>
                  </a:lnTo>
                  <a:lnTo>
                    <a:pt x="1397" y="1851"/>
                  </a:lnTo>
                  <a:lnTo>
                    <a:pt x="1398" y="1848"/>
                  </a:lnTo>
                  <a:lnTo>
                    <a:pt x="1399" y="1845"/>
                  </a:lnTo>
                  <a:lnTo>
                    <a:pt x="1399" y="1842"/>
                  </a:lnTo>
                  <a:lnTo>
                    <a:pt x="1400" y="1842"/>
                  </a:lnTo>
                  <a:lnTo>
                    <a:pt x="1400" y="1838"/>
                  </a:lnTo>
                  <a:lnTo>
                    <a:pt x="1400" y="1838"/>
                  </a:lnTo>
                  <a:lnTo>
                    <a:pt x="1401" y="1834"/>
                  </a:lnTo>
                  <a:lnTo>
                    <a:pt x="1402" y="1828"/>
                  </a:lnTo>
                  <a:lnTo>
                    <a:pt x="1403" y="1826"/>
                  </a:lnTo>
                  <a:lnTo>
                    <a:pt x="1404" y="1820"/>
                  </a:lnTo>
                  <a:lnTo>
                    <a:pt x="1404" y="1817"/>
                  </a:lnTo>
                  <a:lnTo>
                    <a:pt x="1405" y="1811"/>
                  </a:lnTo>
                  <a:lnTo>
                    <a:pt x="1406" y="1809"/>
                  </a:lnTo>
                  <a:lnTo>
                    <a:pt x="1407" y="1802"/>
                  </a:lnTo>
                  <a:lnTo>
                    <a:pt x="1407" y="1799"/>
                  </a:lnTo>
                  <a:lnTo>
                    <a:pt x="1408" y="1794"/>
                  </a:lnTo>
                  <a:lnTo>
                    <a:pt x="1408" y="1793"/>
                  </a:lnTo>
                  <a:lnTo>
                    <a:pt x="7" y="1793"/>
                  </a:lnTo>
                  <a:close/>
                  <a:moveTo>
                    <a:pt x="1202" y="1187"/>
                  </a:moveTo>
                  <a:lnTo>
                    <a:pt x="1202" y="1186"/>
                  </a:lnTo>
                  <a:cubicBezTo>
                    <a:pt x="1194" y="1179"/>
                    <a:pt x="1186" y="1171"/>
                    <a:pt x="1177" y="1164"/>
                  </a:cubicBezTo>
                  <a:lnTo>
                    <a:pt x="1177" y="1163"/>
                  </a:lnTo>
                  <a:lnTo>
                    <a:pt x="1177" y="1163"/>
                  </a:lnTo>
                  <a:cubicBezTo>
                    <a:pt x="1175" y="1162"/>
                    <a:pt x="1173" y="1160"/>
                    <a:pt x="1171" y="1158"/>
                  </a:cubicBezTo>
                  <a:lnTo>
                    <a:pt x="1171" y="1158"/>
                  </a:lnTo>
                  <a:lnTo>
                    <a:pt x="1170" y="1157"/>
                  </a:lnTo>
                  <a:lnTo>
                    <a:pt x="1165" y="1153"/>
                  </a:lnTo>
                  <a:lnTo>
                    <a:pt x="1164" y="1152"/>
                  </a:lnTo>
                  <a:lnTo>
                    <a:pt x="1164" y="1152"/>
                  </a:lnTo>
                  <a:lnTo>
                    <a:pt x="1158" y="1148"/>
                  </a:lnTo>
                  <a:lnTo>
                    <a:pt x="1157" y="1147"/>
                  </a:lnTo>
                  <a:lnTo>
                    <a:pt x="1157" y="1147"/>
                  </a:lnTo>
                  <a:lnTo>
                    <a:pt x="1157" y="1146"/>
                  </a:lnTo>
                  <a:lnTo>
                    <a:pt x="1152" y="1142"/>
                  </a:lnTo>
                  <a:lnTo>
                    <a:pt x="1150" y="1141"/>
                  </a:lnTo>
                  <a:lnTo>
                    <a:pt x="1145" y="1137"/>
                  </a:lnTo>
                  <a:lnTo>
                    <a:pt x="1144" y="1136"/>
                  </a:lnTo>
                  <a:lnTo>
                    <a:pt x="1144" y="1136"/>
                  </a:lnTo>
                  <a:lnTo>
                    <a:pt x="1138" y="1131"/>
                  </a:lnTo>
                  <a:lnTo>
                    <a:pt x="1137" y="1131"/>
                  </a:lnTo>
                  <a:lnTo>
                    <a:pt x="1132" y="1127"/>
                  </a:lnTo>
                  <a:lnTo>
                    <a:pt x="1130" y="1125"/>
                  </a:lnTo>
                  <a:lnTo>
                    <a:pt x="1125" y="1122"/>
                  </a:lnTo>
                  <a:lnTo>
                    <a:pt x="1122" y="1120"/>
                  </a:lnTo>
                  <a:lnTo>
                    <a:pt x="1122" y="1119"/>
                  </a:lnTo>
                  <a:lnTo>
                    <a:pt x="1119" y="1117"/>
                  </a:lnTo>
                  <a:lnTo>
                    <a:pt x="1119" y="1117"/>
                  </a:lnTo>
                  <a:lnTo>
                    <a:pt x="1115" y="1114"/>
                  </a:lnTo>
                  <a:lnTo>
                    <a:pt x="1112" y="1112"/>
                  </a:lnTo>
                  <a:lnTo>
                    <a:pt x="1108" y="1110"/>
                  </a:lnTo>
                  <a:lnTo>
                    <a:pt x="1106" y="1108"/>
                  </a:lnTo>
                  <a:lnTo>
                    <a:pt x="1105" y="1108"/>
                  </a:lnTo>
                  <a:lnTo>
                    <a:pt x="1101" y="1105"/>
                  </a:lnTo>
                  <a:lnTo>
                    <a:pt x="1100" y="1104"/>
                  </a:lnTo>
                  <a:lnTo>
                    <a:pt x="1097" y="1102"/>
                  </a:lnTo>
                  <a:lnTo>
                    <a:pt x="1097" y="1102"/>
                  </a:lnTo>
                  <a:lnTo>
                    <a:pt x="1093" y="1100"/>
                  </a:lnTo>
                  <a:lnTo>
                    <a:pt x="1091" y="1098"/>
                  </a:lnTo>
                  <a:lnTo>
                    <a:pt x="1087" y="1096"/>
                  </a:lnTo>
                  <a:lnTo>
                    <a:pt x="1087" y="1095"/>
                  </a:lnTo>
                  <a:lnTo>
                    <a:pt x="1084" y="1094"/>
                  </a:lnTo>
                  <a:cubicBezTo>
                    <a:pt x="1080" y="1091"/>
                    <a:pt x="1076" y="1089"/>
                    <a:pt x="1073" y="1087"/>
                  </a:cubicBezTo>
                  <a:lnTo>
                    <a:pt x="1070" y="1085"/>
                  </a:lnTo>
                  <a:lnTo>
                    <a:pt x="1064" y="1082"/>
                  </a:lnTo>
                  <a:lnTo>
                    <a:pt x="1064" y="1082"/>
                  </a:lnTo>
                  <a:lnTo>
                    <a:pt x="1061" y="1080"/>
                  </a:lnTo>
                  <a:cubicBezTo>
                    <a:pt x="1058" y="1078"/>
                    <a:pt x="1054" y="1076"/>
                    <a:pt x="1050" y="1073"/>
                  </a:cubicBezTo>
                  <a:lnTo>
                    <a:pt x="1047" y="1072"/>
                  </a:lnTo>
                  <a:lnTo>
                    <a:pt x="1042" y="1069"/>
                  </a:lnTo>
                  <a:lnTo>
                    <a:pt x="1041" y="1069"/>
                  </a:lnTo>
                  <a:cubicBezTo>
                    <a:pt x="942" y="1015"/>
                    <a:pt x="828" y="985"/>
                    <a:pt x="707" y="985"/>
                  </a:cubicBezTo>
                  <a:cubicBezTo>
                    <a:pt x="512" y="985"/>
                    <a:pt x="335" y="1065"/>
                    <a:pt x="207" y="1193"/>
                  </a:cubicBezTo>
                  <a:cubicBezTo>
                    <a:pt x="86" y="1314"/>
                    <a:pt x="8" y="1478"/>
                    <a:pt x="0" y="1661"/>
                  </a:cubicBezTo>
                  <a:lnTo>
                    <a:pt x="1414" y="1661"/>
                  </a:lnTo>
                  <a:cubicBezTo>
                    <a:pt x="1406" y="1478"/>
                    <a:pt x="1329" y="1314"/>
                    <a:pt x="1208" y="1193"/>
                  </a:cubicBezTo>
                  <a:cubicBezTo>
                    <a:pt x="1206" y="1191"/>
                    <a:pt x="1204" y="1189"/>
                    <a:pt x="1202" y="1187"/>
                  </a:cubicBezTo>
                  <a:close/>
                  <a:moveTo>
                    <a:pt x="3014" y="1793"/>
                  </a:moveTo>
                  <a:cubicBezTo>
                    <a:pt x="2812" y="2048"/>
                    <a:pt x="2498" y="2212"/>
                    <a:pt x="2147" y="2212"/>
                  </a:cubicBezTo>
                  <a:cubicBezTo>
                    <a:pt x="1902" y="2212"/>
                    <a:pt x="1675" y="2132"/>
                    <a:pt x="1492" y="1997"/>
                  </a:cubicBezTo>
                  <a:cubicBezTo>
                    <a:pt x="1517" y="1933"/>
                    <a:pt x="1534" y="1864"/>
                    <a:pt x="1543" y="1793"/>
                  </a:cubicBezTo>
                  <a:lnTo>
                    <a:pt x="3014" y="1793"/>
                  </a:lnTo>
                  <a:close/>
                  <a:moveTo>
                    <a:pt x="2147" y="0"/>
                  </a:moveTo>
                  <a:cubicBezTo>
                    <a:pt x="2758" y="0"/>
                    <a:pt x="3253" y="495"/>
                    <a:pt x="3253" y="1106"/>
                  </a:cubicBezTo>
                  <a:cubicBezTo>
                    <a:pt x="3253" y="1309"/>
                    <a:pt x="3199" y="1498"/>
                    <a:pt x="3104" y="1661"/>
                  </a:cubicBezTo>
                  <a:lnTo>
                    <a:pt x="2205" y="1661"/>
                  </a:lnTo>
                  <a:cubicBezTo>
                    <a:pt x="2205" y="1659"/>
                    <a:pt x="2205" y="1656"/>
                    <a:pt x="2205" y="1654"/>
                  </a:cubicBezTo>
                  <a:lnTo>
                    <a:pt x="2205" y="1446"/>
                  </a:lnTo>
                  <a:lnTo>
                    <a:pt x="2379" y="1446"/>
                  </a:lnTo>
                  <a:cubicBezTo>
                    <a:pt x="2457" y="1446"/>
                    <a:pt x="2527" y="1414"/>
                    <a:pt x="2579" y="1362"/>
                  </a:cubicBezTo>
                  <a:cubicBezTo>
                    <a:pt x="2630" y="1311"/>
                    <a:pt x="2662" y="1240"/>
                    <a:pt x="2662" y="1161"/>
                  </a:cubicBezTo>
                  <a:lnTo>
                    <a:pt x="2662" y="1161"/>
                  </a:lnTo>
                  <a:cubicBezTo>
                    <a:pt x="2662" y="1083"/>
                    <a:pt x="2630" y="1012"/>
                    <a:pt x="2579" y="961"/>
                  </a:cubicBezTo>
                  <a:cubicBezTo>
                    <a:pt x="2558" y="940"/>
                    <a:pt x="2533" y="922"/>
                    <a:pt x="2506" y="908"/>
                  </a:cubicBezTo>
                  <a:cubicBezTo>
                    <a:pt x="2546" y="859"/>
                    <a:pt x="2571" y="796"/>
                    <a:pt x="2571" y="727"/>
                  </a:cubicBezTo>
                  <a:lnTo>
                    <a:pt x="2571" y="727"/>
                  </a:lnTo>
                  <a:cubicBezTo>
                    <a:pt x="2571" y="649"/>
                    <a:pt x="2539" y="578"/>
                    <a:pt x="2488" y="527"/>
                  </a:cubicBezTo>
                  <a:cubicBezTo>
                    <a:pt x="2436" y="475"/>
                    <a:pt x="2365" y="443"/>
                    <a:pt x="2287" y="443"/>
                  </a:cubicBezTo>
                  <a:lnTo>
                    <a:pt x="2205" y="443"/>
                  </a:lnTo>
                  <a:lnTo>
                    <a:pt x="2205" y="265"/>
                  </a:lnTo>
                  <a:cubicBezTo>
                    <a:pt x="2205" y="228"/>
                    <a:pt x="2175" y="198"/>
                    <a:pt x="2138" y="198"/>
                  </a:cubicBezTo>
                  <a:cubicBezTo>
                    <a:pt x="2102" y="198"/>
                    <a:pt x="2072" y="228"/>
                    <a:pt x="2072" y="265"/>
                  </a:cubicBezTo>
                  <a:lnTo>
                    <a:pt x="2072" y="443"/>
                  </a:lnTo>
                  <a:lnTo>
                    <a:pt x="1903" y="443"/>
                  </a:lnTo>
                  <a:cubicBezTo>
                    <a:pt x="1867" y="443"/>
                    <a:pt x="1834" y="458"/>
                    <a:pt x="1810" y="482"/>
                  </a:cubicBezTo>
                  <a:lnTo>
                    <a:pt x="1810" y="482"/>
                  </a:lnTo>
                  <a:lnTo>
                    <a:pt x="1810" y="482"/>
                  </a:lnTo>
                  <a:cubicBezTo>
                    <a:pt x="1786" y="506"/>
                    <a:pt x="1771" y="539"/>
                    <a:pt x="1771" y="575"/>
                  </a:cubicBezTo>
                  <a:lnTo>
                    <a:pt x="1771" y="878"/>
                  </a:lnTo>
                  <a:lnTo>
                    <a:pt x="1771" y="944"/>
                  </a:lnTo>
                  <a:lnTo>
                    <a:pt x="1771" y="1011"/>
                  </a:lnTo>
                  <a:lnTo>
                    <a:pt x="1771" y="1011"/>
                  </a:lnTo>
                  <a:lnTo>
                    <a:pt x="1771" y="1314"/>
                  </a:lnTo>
                  <a:cubicBezTo>
                    <a:pt x="1771" y="1350"/>
                    <a:pt x="1786" y="1382"/>
                    <a:pt x="1810" y="1406"/>
                  </a:cubicBezTo>
                  <a:lnTo>
                    <a:pt x="1810" y="1407"/>
                  </a:lnTo>
                  <a:lnTo>
                    <a:pt x="1810" y="1407"/>
                  </a:lnTo>
                  <a:cubicBezTo>
                    <a:pt x="1834" y="1431"/>
                    <a:pt x="1867" y="1446"/>
                    <a:pt x="1903" y="1446"/>
                  </a:cubicBezTo>
                  <a:lnTo>
                    <a:pt x="2072" y="1446"/>
                  </a:lnTo>
                  <a:lnTo>
                    <a:pt x="2072" y="1654"/>
                  </a:lnTo>
                  <a:cubicBezTo>
                    <a:pt x="2072" y="1656"/>
                    <a:pt x="2072" y="1659"/>
                    <a:pt x="2072" y="1661"/>
                  </a:cubicBezTo>
                  <a:lnTo>
                    <a:pt x="1548" y="1661"/>
                  </a:lnTo>
                  <a:cubicBezTo>
                    <a:pt x="1540" y="1442"/>
                    <a:pt x="1448" y="1243"/>
                    <a:pt x="1302" y="1098"/>
                  </a:cubicBezTo>
                  <a:cubicBezTo>
                    <a:pt x="1231" y="1027"/>
                    <a:pt x="1148" y="969"/>
                    <a:pt x="1055" y="927"/>
                  </a:cubicBezTo>
                  <a:cubicBezTo>
                    <a:pt x="1141" y="401"/>
                    <a:pt x="1597" y="0"/>
                    <a:pt x="2147" y="0"/>
                  </a:cubicBezTo>
                  <a:lnTo>
                    <a:pt x="2147" y="0"/>
                  </a:lnTo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F362101F-89C6-4654-9A04-2DCA795EC0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3839" y="483813"/>
              <a:ext cx="577273" cy="300444"/>
            </a:xfrm>
            <a:custGeom>
              <a:avLst/>
              <a:gdLst>
                <a:gd name="T0" fmla="*/ 1656 w 4220"/>
                <a:gd name="T1" fmla="*/ 2190 h 2190"/>
                <a:gd name="T2" fmla="*/ 866 w 4220"/>
                <a:gd name="T3" fmla="*/ 2190 h 2190"/>
                <a:gd name="T4" fmla="*/ 966 w 4220"/>
                <a:gd name="T5" fmla="*/ 2028 h 2190"/>
                <a:gd name="T6" fmla="*/ 1261 w 4220"/>
                <a:gd name="T7" fmla="*/ 1906 h 2190"/>
                <a:gd name="T8" fmla="*/ 1555 w 4220"/>
                <a:gd name="T9" fmla="*/ 2028 h 2190"/>
                <a:gd name="T10" fmla="*/ 1656 w 4220"/>
                <a:gd name="T11" fmla="*/ 2190 h 2190"/>
                <a:gd name="T12" fmla="*/ 3359 w 4220"/>
                <a:gd name="T13" fmla="*/ 2190 h 2190"/>
                <a:gd name="T14" fmla="*/ 2569 w 4220"/>
                <a:gd name="T15" fmla="*/ 2190 h 2190"/>
                <a:gd name="T16" fmla="*/ 2670 w 4220"/>
                <a:gd name="T17" fmla="*/ 2028 h 2190"/>
                <a:gd name="T18" fmla="*/ 2964 w 4220"/>
                <a:gd name="T19" fmla="*/ 1906 h 2190"/>
                <a:gd name="T20" fmla="*/ 3259 w 4220"/>
                <a:gd name="T21" fmla="*/ 2028 h 2190"/>
                <a:gd name="T22" fmla="*/ 3359 w 4220"/>
                <a:gd name="T23" fmla="*/ 2190 h 2190"/>
                <a:gd name="T24" fmla="*/ 326 w 4220"/>
                <a:gd name="T25" fmla="*/ 0 h 2190"/>
                <a:gd name="T26" fmla="*/ 2110 w 4220"/>
                <a:gd name="T27" fmla="*/ 0 h 2190"/>
                <a:gd name="T28" fmla="*/ 3894 w 4220"/>
                <a:gd name="T29" fmla="*/ 0 h 2190"/>
                <a:gd name="T30" fmla="*/ 4001 w 4220"/>
                <a:gd name="T31" fmla="*/ 17 h 2190"/>
                <a:gd name="T32" fmla="*/ 4150 w 4220"/>
                <a:gd name="T33" fmla="*/ 111 h 2190"/>
                <a:gd name="T34" fmla="*/ 4220 w 4220"/>
                <a:gd name="T35" fmla="*/ 273 h 2190"/>
                <a:gd name="T36" fmla="*/ 4209 w 4220"/>
                <a:gd name="T37" fmla="*/ 339 h 2190"/>
                <a:gd name="T38" fmla="*/ 3694 w 4220"/>
                <a:gd name="T39" fmla="*/ 1893 h 2190"/>
                <a:gd name="T40" fmla="*/ 3591 w 4220"/>
                <a:gd name="T41" fmla="*/ 2091 h 2190"/>
                <a:gd name="T42" fmla="*/ 3492 w 4220"/>
                <a:gd name="T43" fmla="*/ 2167 h 2190"/>
                <a:gd name="T44" fmla="*/ 3353 w 4220"/>
                <a:gd name="T45" fmla="*/ 1934 h 2190"/>
                <a:gd name="T46" fmla="*/ 2964 w 4220"/>
                <a:gd name="T47" fmla="*/ 1773 h 2190"/>
                <a:gd name="T48" fmla="*/ 2576 w 4220"/>
                <a:gd name="T49" fmla="*/ 1934 h 2190"/>
                <a:gd name="T50" fmla="*/ 2431 w 4220"/>
                <a:gd name="T51" fmla="*/ 2190 h 2190"/>
                <a:gd name="T52" fmla="*/ 2110 w 4220"/>
                <a:gd name="T53" fmla="*/ 2190 h 2190"/>
                <a:gd name="T54" fmla="*/ 1795 w 4220"/>
                <a:gd name="T55" fmla="*/ 2190 h 2190"/>
                <a:gd name="T56" fmla="*/ 1649 w 4220"/>
                <a:gd name="T57" fmla="*/ 1934 h 2190"/>
                <a:gd name="T58" fmla="*/ 1261 w 4220"/>
                <a:gd name="T59" fmla="*/ 1773 h 2190"/>
                <a:gd name="T60" fmla="*/ 872 w 4220"/>
                <a:gd name="T61" fmla="*/ 1934 h 2190"/>
                <a:gd name="T62" fmla="*/ 733 w 4220"/>
                <a:gd name="T63" fmla="*/ 2169 h 2190"/>
                <a:gd name="T64" fmla="*/ 629 w 4220"/>
                <a:gd name="T65" fmla="*/ 2091 h 2190"/>
                <a:gd name="T66" fmla="*/ 525 w 4220"/>
                <a:gd name="T67" fmla="*/ 1893 h 2190"/>
                <a:gd name="T68" fmla="*/ 11 w 4220"/>
                <a:gd name="T69" fmla="*/ 339 h 2190"/>
                <a:gd name="T70" fmla="*/ 0 w 4220"/>
                <a:gd name="T71" fmla="*/ 273 h 2190"/>
                <a:gd name="T72" fmla="*/ 70 w 4220"/>
                <a:gd name="T73" fmla="*/ 111 h 2190"/>
                <a:gd name="T74" fmla="*/ 219 w 4220"/>
                <a:gd name="T75" fmla="*/ 17 h 2190"/>
                <a:gd name="T76" fmla="*/ 326 w 4220"/>
                <a:gd name="T77" fmla="*/ 0 h 2190"/>
                <a:gd name="T78" fmla="*/ 326 w 4220"/>
                <a:gd name="T79" fmla="*/ 0 h 2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20" h="2190">
                  <a:moveTo>
                    <a:pt x="1656" y="2190"/>
                  </a:moveTo>
                  <a:lnTo>
                    <a:pt x="866" y="2190"/>
                  </a:lnTo>
                  <a:cubicBezTo>
                    <a:pt x="887" y="2128"/>
                    <a:pt x="921" y="2073"/>
                    <a:pt x="966" y="2028"/>
                  </a:cubicBezTo>
                  <a:cubicBezTo>
                    <a:pt x="1042" y="1953"/>
                    <a:pt x="1146" y="1906"/>
                    <a:pt x="1261" y="1906"/>
                  </a:cubicBezTo>
                  <a:cubicBezTo>
                    <a:pt x="1376" y="1906"/>
                    <a:pt x="1480" y="1953"/>
                    <a:pt x="1555" y="2028"/>
                  </a:cubicBezTo>
                  <a:cubicBezTo>
                    <a:pt x="1600" y="2073"/>
                    <a:pt x="1635" y="2128"/>
                    <a:pt x="1656" y="2190"/>
                  </a:cubicBezTo>
                  <a:close/>
                  <a:moveTo>
                    <a:pt x="3359" y="2190"/>
                  </a:moveTo>
                  <a:lnTo>
                    <a:pt x="2569" y="2190"/>
                  </a:lnTo>
                  <a:cubicBezTo>
                    <a:pt x="2590" y="2128"/>
                    <a:pt x="2625" y="2073"/>
                    <a:pt x="2670" y="2028"/>
                  </a:cubicBezTo>
                  <a:cubicBezTo>
                    <a:pt x="2745" y="1953"/>
                    <a:pt x="2849" y="1906"/>
                    <a:pt x="2964" y="1906"/>
                  </a:cubicBezTo>
                  <a:cubicBezTo>
                    <a:pt x="3079" y="1906"/>
                    <a:pt x="3183" y="1953"/>
                    <a:pt x="3259" y="2028"/>
                  </a:cubicBezTo>
                  <a:cubicBezTo>
                    <a:pt x="3304" y="2073"/>
                    <a:pt x="3339" y="2128"/>
                    <a:pt x="3359" y="2190"/>
                  </a:cubicBezTo>
                  <a:close/>
                  <a:moveTo>
                    <a:pt x="326" y="0"/>
                  </a:moveTo>
                  <a:lnTo>
                    <a:pt x="2110" y="0"/>
                  </a:lnTo>
                  <a:lnTo>
                    <a:pt x="3894" y="0"/>
                  </a:lnTo>
                  <a:cubicBezTo>
                    <a:pt x="3930" y="0"/>
                    <a:pt x="3966" y="6"/>
                    <a:pt x="4001" y="17"/>
                  </a:cubicBezTo>
                  <a:cubicBezTo>
                    <a:pt x="4058" y="36"/>
                    <a:pt x="4111" y="69"/>
                    <a:pt x="4150" y="111"/>
                  </a:cubicBezTo>
                  <a:cubicBezTo>
                    <a:pt x="4192" y="156"/>
                    <a:pt x="4220" y="212"/>
                    <a:pt x="4220" y="273"/>
                  </a:cubicBezTo>
                  <a:cubicBezTo>
                    <a:pt x="4220" y="295"/>
                    <a:pt x="4216" y="316"/>
                    <a:pt x="4209" y="339"/>
                  </a:cubicBezTo>
                  <a:lnTo>
                    <a:pt x="3694" y="1893"/>
                  </a:lnTo>
                  <a:cubicBezTo>
                    <a:pt x="3670" y="1966"/>
                    <a:pt x="3638" y="2036"/>
                    <a:pt x="3591" y="2091"/>
                  </a:cubicBezTo>
                  <a:cubicBezTo>
                    <a:pt x="3563" y="2123"/>
                    <a:pt x="3530" y="2150"/>
                    <a:pt x="3492" y="2167"/>
                  </a:cubicBezTo>
                  <a:cubicBezTo>
                    <a:pt x="3465" y="2078"/>
                    <a:pt x="3417" y="1998"/>
                    <a:pt x="3353" y="1934"/>
                  </a:cubicBezTo>
                  <a:cubicBezTo>
                    <a:pt x="3253" y="1834"/>
                    <a:pt x="3116" y="1773"/>
                    <a:pt x="2964" y="1773"/>
                  </a:cubicBezTo>
                  <a:cubicBezTo>
                    <a:pt x="2813" y="1773"/>
                    <a:pt x="2675" y="1834"/>
                    <a:pt x="2576" y="1934"/>
                  </a:cubicBezTo>
                  <a:cubicBezTo>
                    <a:pt x="2506" y="2003"/>
                    <a:pt x="2455" y="2092"/>
                    <a:pt x="2431" y="2190"/>
                  </a:cubicBezTo>
                  <a:lnTo>
                    <a:pt x="2110" y="2190"/>
                  </a:lnTo>
                  <a:lnTo>
                    <a:pt x="1795" y="2190"/>
                  </a:lnTo>
                  <a:cubicBezTo>
                    <a:pt x="1770" y="2092"/>
                    <a:pt x="1719" y="2003"/>
                    <a:pt x="1649" y="1934"/>
                  </a:cubicBezTo>
                  <a:cubicBezTo>
                    <a:pt x="1550" y="1834"/>
                    <a:pt x="1413" y="1773"/>
                    <a:pt x="1261" y="1773"/>
                  </a:cubicBezTo>
                  <a:cubicBezTo>
                    <a:pt x="1109" y="1773"/>
                    <a:pt x="972" y="1834"/>
                    <a:pt x="872" y="1934"/>
                  </a:cubicBezTo>
                  <a:cubicBezTo>
                    <a:pt x="808" y="1998"/>
                    <a:pt x="759" y="2079"/>
                    <a:pt x="733" y="2169"/>
                  </a:cubicBezTo>
                  <a:cubicBezTo>
                    <a:pt x="692" y="2152"/>
                    <a:pt x="658" y="2125"/>
                    <a:pt x="629" y="2091"/>
                  </a:cubicBezTo>
                  <a:cubicBezTo>
                    <a:pt x="582" y="2036"/>
                    <a:pt x="550" y="1966"/>
                    <a:pt x="525" y="1893"/>
                  </a:cubicBezTo>
                  <a:lnTo>
                    <a:pt x="11" y="339"/>
                  </a:lnTo>
                  <a:cubicBezTo>
                    <a:pt x="4" y="316"/>
                    <a:pt x="0" y="295"/>
                    <a:pt x="0" y="273"/>
                  </a:cubicBezTo>
                  <a:cubicBezTo>
                    <a:pt x="0" y="212"/>
                    <a:pt x="28" y="156"/>
                    <a:pt x="70" y="111"/>
                  </a:cubicBezTo>
                  <a:cubicBezTo>
                    <a:pt x="109" y="69"/>
                    <a:pt x="162" y="36"/>
                    <a:pt x="219" y="17"/>
                  </a:cubicBezTo>
                  <a:cubicBezTo>
                    <a:pt x="254" y="6"/>
                    <a:pt x="290" y="0"/>
                    <a:pt x="326" y="0"/>
                  </a:cubicBezTo>
                  <a:lnTo>
                    <a:pt x="326" y="0"/>
                  </a:lnTo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D91714E4-7721-4357-B615-55AA631FB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9293" y="744897"/>
              <a:ext cx="114143" cy="114143"/>
            </a:xfrm>
            <a:custGeom>
              <a:avLst/>
              <a:gdLst>
                <a:gd name="T0" fmla="*/ 710 w 832"/>
                <a:gd name="T1" fmla="*/ 122 h 833"/>
                <a:gd name="T2" fmla="*/ 416 w 832"/>
                <a:gd name="T3" fmla="*/ 0 h 833"/>
                <a:gd name="T4" fmla="*/ 121 w 832"/>
                <a:gd name="T5" fmla="*/ 122 h 833"/>
                <a:gd name="T6" fmla="*/ 0 w 832"/>
                <a:gd name="T7" fmla="*/ 416 h 833"/>
                <a:gd name="T8" fmla="*/ 121 w 832"/>
                <a:gd name="T9" fmla="*/ 711 h 833"/>
                <a:gd name="T10" fmla="*/ 416 w 832"/>
                <a:gd name="T11" fmla="*/ 833 h 833"/>
                <a:gd name="T12" fmla="*/ 710 w 832"/>
                <a:gd name="T13" fmla="*/ 711 h 833"/>
                <a:gd name="T14" fmla="*/ 832 w 832"/>
                <a:gd name="T15" fmla="*/ 416 h 833"/>
                <a:gd name="T16" fmla="*/ 710 w 832"/>
                <a:gd name="T17" fmla="*/ 122 h 833"/>
                <a:gd name="T18" fmla="*/ 710 w 832"/>
                <a:gd name="T19" fmla="*/ 122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2" h="833">
                  <a:moveTo>
                    <a:pt x="710" y="122"/>
                  </a:moveTo>
                  <a:cubicBezTo>
                    <a:pt x="635" y="47"/>
                    <a:pt x="531" y="0"/>
                    <a:pt x="416" y="0"/>
                  </a:cubicBezTo>
                  <a:cubicBezTo>
                    <a:pt x="301" y="0"/>
                    <a:pt x="197" y="47"/>
                    <a:pt x="121" y="122"/>
                  </a:cubicBezTo>
                  <a:cubicBezTo>
                    <a:pt x="46" y="197"/>
                    <a:pt x="0" y="301"/>
                    <a:pt x="0" y="416"/>
                  </a:cubicBezTo>
                  <a:cubicBezTo>
                    <a:pt x="0" y="531"/>
                    <a:pt x="46" y="636"/>
                    <a:pt x="121" y="711"/>
                  </a:cubicBezTo>
                  <a:cubicBezTo>
                    <a:pt x="197" y="786"/>
                    <a:pt x="301" y="833"/>
                    <a:pt x="416" y="833"/>
                  </a:cubicBezTo>
                  <a:cubicBezTo>
                    <a:pt x="531" y="833"/>
                    <a:pt x="635" y="786"/>
                    <a:pt x="710" y="711"/>
                  </a:cubicBezTo>
                  <a:cubicBezTo>
                    <a:pt x="785" y="636"/>
                    <a:pt x="832" y="531"/>
                    <a:pt x="832" y="416"/>
                  </a:cubicBezTo>
                  <a:cubicBezTo>
                    <a:pt x="832" y="301"/>
                    <a:pt x="785" y="197"/>
                    <a:pt x="710" y="122"/>
                  </a:cubicBezTo>
                  <a:lnTo>
                    <a:pt x="710" y="122"/>
                  </a:ln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 21">
              <a:extLst>
                <a:ext uri="{FF2B5EF4-FFF2-40B4-BE49-F238E27FC236}">
                  <a16:creationId xmlns:a16="http://schemas.microsoft.com/office/drawing/2014/main" id="{FCB23238-95CC-4006-B6B1-39FFBA2EB9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2826" y="744897"/>
              <a:ext cx="114143" cy="114143"/>
            </a:xfrm>
            <a:custGeom>
              <a:avLst/>
              <a:gdLst>
                <a:gd name="T0" fmla="*/ 711 w 832"/>
                <a:gd name="T1" fmla="*/ 122 h 833"/>
                <a:gd name="T2" fmla="*/ 416 w 832"/>
                <a:gd name="T3" fmla="*/ 0 h 833"/>
                <a:gd name="T4" fmla="*/ 122 w 832"/>
                <a:gd name="T5" fmla="*/ 122 h 833"/>
                <a:gd name="T6" fmla="*/ 0 w 832"/>
                <a:gd name="T7" fmla="*/ 416 h 833"/>
                <a:gd name="T8" fmla="*/ 122 w 832"/>
                <a:gd name="T9" fmla="*/ 711 h 833"/>
                <a:gd name="T10" fmla="*/ 416 w 832"/>
                <a:gd name="T11" fmla="*/ 833 h 833"/>
                <a:gd name="T12" fmla="*/ 711 w 832"/>
                <a:gd name="T13" fmla="*/ 711 h 833"/>
                <a:gd name="T14" fmla="*/ 832 w 832"/>
                <a:gd name="T15" fmla="*/ 416 h 833"/>
                <a:gd name="T16" fmla="*/ 711 w 832"/>
                <a:gd name="T17" fmla="*/ 122 h 833"/>
                <a:gd name="T18" fmla="*/ 711 w 832"/>
                <a:gd name="T19" fmla="*/ 122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2" h="833">
                  <a:moveTo>
                    <a:pt x="711" y="122"/>
                  </a:moveTo>
                  <a:cubicBezTo>
                    <a:pt x="635" y="47"/>
                    <a:pt x="531" y="0"/>
                    <a:pt x="416" y="0"/>
                  </a:cubicBezTo>
                  <a:cubicBezTo>
                    <a:pt x="301" y="0"/>
                    <a:pt x="197" y="47"/>
                    <a:pt x="122" y="122"/>
                  </a:cubicBezTo>
                  <a:cubicBezTo>
                    <a:pt x="47" y="197"/>
                    <a:pt x="0" y="301"/>
                    <a:pt x="0" y="416"/>
                  </a:cubicBezTo>
                  <a:cubicBezTo>
                    <a:pt x="0" y="531"/>
                    <a:pt x="47" y="636"/>
                    <a:pt x="122" y="711"/>
                  </a:cubicBezTo>
                  <a:cubicBezTo>
                    <a:pt x="197" y="786"/>
                    <a:pt x="301" y="833"/>
                    <a:pt x="416" y="833"/>
                  </a:cubicBezTo>
                  <a:cubicBezTo>
                    <a:pt x="531" y="833"/>
                    <a:pt x="635" y="786"/>
                    <a:pt x="711" y="711"/>
                  </a:cubicBezTo>
                  <a:cubicBezTo>
                    <a:pt x="786" y="636"/>
                    <a:pt x="832" y="531"/>
                    <a:pt x="832" y="416"/>
                  </a:cubicBezTo>
                  <a:cubicBezTo>
                    <a:pt x="832" y="301"/>
                    <a:pt x="786" y="197"/>
                    <a:pt x="711" y="122"/>
                  </a:cubicBezTo>
                  <a:lnTo>
                    <a:pt x="711" y="122"/>
                  </a:ln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58" name="Port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603A478-AE53-4A18-9730-A0B5E71D4EE6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441960" y="2164557"/>
            <a:ext cx="418967" cy="407194"/>
            <a:chOff x="4846639" y="2695575"/>
            <a:chExt cx="2994025" cy="2909888"/>
          </a:xfrm>
          <a:solidFill>
            <a:schemeClr val="accent1"/>
          </a:solidFill>
        </p:grpSpPr>
        <p:sp>
          <p:nvSpPr>
            <p:cNvPr id="59" name="Freeform 36">
              <a:extLst>
                <a:ext uri="{FF2B5EF4-FFF2-40B4-BE49-F238E27FC236}">
                  <a16:creationId xmlns:a16="http://schemas.microsoft.com/office/drawing/2014/main" id="{81335046-88EA-420E-9885-DB1DFE1B7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6639" y="5168900"/>
              <a:ext cx="2992438" cy="230188"/>
            </a:xfrm>
            <a:custGeom>
              <a:avLst/>
              <a:gdLst>
                <a:gd name="T0" fmla="*/ 4843 w 10903"/>
                <a:gd name="T1" fmla="*/ 51 h 838"/>
                <a:gd name="T2" fmla="*/ 5154 w 10903"/>
                <a:gd name="T3" fmla="*/ 148 h 838"/>
                <a:gd name="T4" fmla="*/ 5486 w 10903"/>
                <a:gd name="T5" fmla="*/ 227 h 838"/>
                <a:gd name="T6" fmla="*/ 5486 w 10903"/>
                <a:gd name="T7" fmla="*/ 242 h 838"/>
                <a:gd name="T8" fmla="*/ 5750 w 10903"/>
                <a:gd name="T9" fmla="*/ 166 h 838"/>
                <a:gd name="T10" fmla="*/ 6513 w 10903"/>
                <a:gd name="T11" fmla="*/ 205 h 838"/>
                <a:gd name="T12" fmla="*/ 7152 w 10903"/>
                <a:gd name="T13" fmla="*/ 170 h 838"/>
                <a:gd name="T14" fmla="*/ 7850 w 10903"/>
                <a:gd name="T15" fmla="*/ 189 h 838"/>
                <a:gd name="T16" fmla="*/ 8478 w 10903"/>
                <a:gd name="T17" fmla="*/ 189 h 838"/>
                <a:gd name="T18" fmla="*/ 9168 w 10903"/>
                <a:gd name="T19" fmla="*/ 170 h 838"/>
                <a:gd name="T20" fmla="*/ 9812 w 10903"/>
                <a:gd name="T21" fmla="*/ 205 h 838"/>
                <a:gd name="T22" fmla="*/ 10571 w 10903"/>
                <a:gd name="T23" fmla="*/ 166 h 838"/>
                <a:gd name="T24" fmla="*/ 10903 w 10903"/>
                <a:gd name="T25" fmla="*/ 245 h 838"/>
                <a:gd name="T26" fmla="*/ 10903 w 10903"/>
                <a:gd name="T27" fmla="*/ 801 h 838"/>
                <a:gd name="T28" fmla="*/ 10550 w 10903"/>
                <a:gd name="T29" fmla="*/ 714 h 838"/>
                <a:gd name="T30" fmla="*/ 9925 w 10903"/>
                <a:gd name="T31" fmla="*/ 699 h 838"/>
                <a:gd name="T32" fmla="*/ 9189 w 10903"/>
                <a:gd name="T33" fmla="*/ 717 h 838"/>
                <a:gd name="T34" fmla="*/ 8549 w 10903"/>
                <a:gd name="T35" fmla="*/ 696 h 838"/>
                <a:gd name="T36" fmla="*/ 7775 w 10903"/>
                <a:gd name="T37" fmla="*/ 701 h 838"/>
                <a:gd name="T38" fmla="*/ 7131 w 10903"/>
                <a:gd name="T39" fmla="*/ 717 h 838"/>
                <a:gd name="T40" fmla="*/ 6396 w 10903"/>
                <a:gd name="T41" fmla="*/ 699 h 838"/>
                <a:gd name="T42" fmla="*/ 5778 w 10903"/>
                <a:gd name="T43" fmla="*/ 714 h 838"/>
                <a:gd name="T44" fmla="*/ 5417 w 10903"/>
                <a:gd name="T45" fmla="*/ 801 h 838"/>
                <a:gd name="T46" fmla="*/ 5417 w 10903"/>
                <a:gd name="T47" fmla="*/ 781 h 838"/>
                <a:gd name="T48" fmla="*/ 5132 w 10903"/>
                <a:gd name="T49" fmla="*/ 696 h 838"/>
                <a:gd name="T50" fmla="*/ 4507 w 10903"/>
                <a:gd name="T51" fmla="*/ 681 h 838"/>
                <a:gd name="T52" fmla="*/ 3772 w 10903"/>
                <a:gd name="T53" fmla="*/ 700 h 838"/>
                <a:gd name="T54" fmla="*/ 3131 w 10903"/>
                <a:gd name="T55" fmla="*/ 678 h 838"/>
                <a:gd name="T56" fmla="*/ 2357 w 10903"/>
                <a:gd name="T57" fmla="*/ 684 h 838"/>
                <a:gd name="T58" fmla="*/ 1714 w 10903"/>
                <a:gd name="T59" fmla="*/ 700 h 838"/>
                <a:gd name="T60" fmla="*/ 979 w 10903"/>
                <a:gd name="T61" fmla="*/ 681 h 838"/>
                <a:gd name="T62" fmla="*/ 361 w 10903"/>
                <a:gd name="T63" fmla="*/ 696 h 838"/>
                <a:gd name="T64" fmla="*/ 0 w 10903"/>
                <a:gd name="T65" fmla="*/ 784 h 838"/>
                <a:gd name="T66" fmla="*/ 0 w 10903"/>
                <a:gd name="T67" fmla="*/ 227 h 838"/>
                <a:gd name="T68" fmla="*/ 332 w 10903"/>
                <a:gd name="T69" fmla="*/ 148 h 838"/>
                <a:gd name="T70" fmla="*/ 1095 w 10903"/>
                <a:gd name="T71" fmla="*/ 187 h 838"/>
                <a:gd name="T72" fmla="*/ 1735 w 10903"/>
                <a:gd name="T73" fmla="*/ 152 h 838"/>
                <a:gd name="T74" fmla="*/ 2432 w 10903"/>
                <a:gd name="T75" fmla="*/ 171 h 838"/>
                <a:gd name="T76" fmla="*/ 3061 w 10903"/>
                <a:gd name="T77" fmla="*/ 171 h 838"/>
                <a:gd name="T78" fmla="*/ 3751 w 10903"/>
                <a:gd name="T79" fmla="*/ 152 h 838"/>
                <a:gd name="T80" fmla="*/ 4395 w 10903"/>
                <a:gd name="T81" fmla="*/ 187 h 838"/>
                <a:gd name="T82" fmla="*/ 4843 w 10903"/>
                <a:gd name="T83" fmla="*/ 51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903" h="838">
                  <a:moveTo>
                    <a:pt x="4843" y="51"/>
                  </a:moveTo>
                  <a:cubicBezTo>
                    <a:pt x="4948" y="53"/>
                    <a:pt x="5049" y="83"/>
                    <a:pt x="5154" y="148"/>
                  </a:cubicBezTo>
                  <a:cubicBezTo>
                    <a:pt x="5154" y="148"/>
                    <a:pt x="5258" y="227"/>
                    <a:pt x="5486" y="227"/>
                  </a:cubicBezTo>
                  <a:lnTo>
                    <a:pt x="5486" y="242"/>
                  </a:lnTo>
                  <a:cubicBezTo>
                    <a:pt x="5669" y="229"/>
                    <a:pt x="5750" y="166"/>
                    <a:pt x="5750" y="166"/>
                  </a:cubicBezTo>
                  <a:cubicBezTo>
                    <a:pt x="5990" y="18"/>
                    <a:pt x="6210" y="47"/>
                    <a:pt x="6513" y="205"/>
                  </a:cubicBezTo>
                  <a:cubicBezTo>
                    <a:pt x="6685" y="294"/>
                    <a:pt x="6958" y="271"/>
                    <a:pt x="7152" y="170"/>
                  </a:cubicBezTo>
                  <a:cubicBezTo>
                    <a:pt x="7419" y="31"/>
                    <a:pt x="7570" y="65"/>
                    <a:pt x="7850" y="189"/>
                  </a:cubicBezTo>
                  <a:cubicBezTo>
                    <a:pt x="8067" y="285"/>
                    <a:pt x="8262" y="285"/>
                    <a:pt x="8478" y="189"/>
                  </a:cubicBezTo>
                  <a:cubicBezTo>
                    <a:pt x="8758" y="64"/>
                    <a:pt x="8901" y="31"/>
                    <a:pt x="9168" y="170"/>
                  </a:cubicBezTo>
                  <a:cubicBezTo>
                    <a:pt x="9362" y="271"/>
                    <a:pt x="9640" y="294"/>
                    <a:pt x="9812" y="205"/>
                  </a:cubicBezTo>
                  <a:cubicBezTo>
                    <a:pt x="10115" y="47"/>
                    <a:pt x="10331" y="18"/>
                    <a:pt x="10571" y="166"/>
                  </a:cubicBezTo>
                  <a:cubicBezTo>
                    <a:pt x="10571" y="166"/>
                    <a:pt x="10675" y="245"/>
                    <a:pt x="10903" y="245"/>
                  </a:cubicBezTo>
                  <a:lnTo>
                    <a:pt x="10903" y="801"/>
                  </a:lnTo>
                  <a:cubicBezTo>
                    <a:pt x="10759" y="801"/>
                    <a:pt x="10647" y="773"/>
                    <a:pt x="10550" y="714"/>
                  </a:cubicBezTo>
                  <a:cubicBezTo>
                    <a:pt x="10427" y="639"/>
                    <a:pt x="10197" y="560"/>
                    <a:pt x="9925" y="699"/>
                  </a:cubicBezTo>
                  <a:cubicBezTo>
                    <a:pt x="9652" y="838"/>
                    <a:pt x="9420" y="838"/>
                    <a:pt x="9189" y="717"/>
                  </a:cubicBezTo>
                  <a:cubicBezTo>
                    <a:pt x="8958" y="596"/>
                    <a:pt x="8830" y="574"/>
                    <a:pt x="8549" y="696"/>
                  </a:cubicBezTo>
                  <a:cubicBezTo>
                    <a:pt x="8276" y="835"/>
                    <a:pt x="8006" y="822"/>
                    <a:pt x="7775" y="701"/>
                  </a:cubicBezTo>
                  <a:cubicBezTo>
                    <a:pt x="7494" y="580"/>
                    <a:pt x="7363" y="596"/>
                    <a:pt x="7131" y="717"/>
                  </a:cubicBezTo>
                  <a:cubicBezTo>
                    <a:pt x="6900" y="838"/>
                    <a:pt x="6669" y="838"/>
                    <a:pt x="6396" y="699"/>
                  </a:cubicBezTo>
                  <a:cubicBezTo>
                    <a:pt x="6123" y="560"/>
                    <a:pt x="5901" y="639"/>
                    <a:pt x="5778" y="714"/>
                  </a:cubicBezTo>
                  <a:cubicBezTo>
                    <a:pt x="5675" y="776"/>
                    <a:pt x="5572" y="801"/>
                    <a:pt x="5417" y="801"/>
                  </a:cubicBezTo>
                  <a:lnTo>
                    <a:pt x="5417" y="781"/>
                  </a:lnTo>
                  <a:cubicBezTo>
                    <a:pt x="5305" y="773"/>
                    <a:pt x="5213" y="746"/>
                    <a:pt x="5132" y="696"/>
                  </a:cubicBezTo>
                  <a:cubicBezTo>
                    <a:pt x="5009" y="621"/>
                    <a:pt x="4780" y="542"/>
                    <a:pt x="4507" y="681"/>
                  </a:cubicBezTo>
                  <a:cubicBezTo>
                    <a:pt x="4235" y="820"/>
                    <a:pt x="4003" y="821"/>
                    <a:pt x="3772" y="700"/>
                  </a:cubicBezTo>
                  <a:cubicBezTo>
                    <a:pt x="3541" y="579"/>
                    <a:pt x="3412" y="556"/>
                    <a:pt x="3131" y="678"/>
                  </a:cubicBezTo>
                  <a:cubicBezTo>
                    <a:pt x="2858" y="817"/>
                    <a:pt x="2589" y="805"/>
                    <a:pt x="2357" y="684"/>
                  </a:cubicBezTo>
                  <a:cubicBezTo>
                    <a:pt x="2076" y="562"/>
                    <a:pt x="1945" y="579"/>
                    <a:pt x="1714" y="700"/>
                  </a:cubicBezTo>
                  <a:cubicBezTo>
                    <a:pt x="1483" y="821"/>
                    <a:pt x="1251" y="820"/>
                    <a:pt x="979" y="681"/>
                  </a:cubicBezTo>
                  <a:cubicBezTo>
                    <a:pt x="706" y="542"/>
                    <a:pt x="484" y="621"/>
                    <a:pt x="361" y="696"/>
                  </a:cubicBezTo>
                  <a:cubicBezTo>
                    <a:pt x="257" y="759"/>
                    <a:pt x="154" y="784"/>
                    <a:pt x="0" y="784"/>
                  </a:cubicBezTo>
                  <a:lnTo>
                    <a:pt x="0" y="227"/>
                  </a:lnTo>
                  <a:cubicBezTo>
                    <a:pt x="232" y="227"/>
                    <a:pt x="332" y="148"/>
                    <a:pt x="332" y="148"/>
                  </a:cubicBezTo>
                  <a:cubicBezTo>
                    <a:pt x="572" y="0"/>
                    <a:pt x="792" y="29"/>
                    <a:pt x="1095" y="187"/>
                  </a:cubicBezTo>
                  <a:cubicBezTo>
                    <a:pt x="1267" y="276"/>
                    <a:pt x="1541" y="253"/>
                    <a:pt x="1735" y="152"/>
                  </a:cubicBezTo>
                  <a:cubicBezTo>
                    <a:pt x="2002" y="13"/>
                    <a:pt x="2153" y="47"/>
                    <a:pt x="2432" y="171"/>
                  </a:cubicBezTo>
                  <a:cubicBezTo>
                    <a:pt x="2649" y="267"/>
                    <a:pt x="2845" y="267"/>
                    <a:pt x="3061" y="171"/>
                  </a:cubicBezTo>
                  <a:cubicBezTo>
                    <a:pt x="3340" y="46"/>
                    <a:pt x="3484" y="13"/>
                    <a:pt x="3751" y="152"/>
                  </a:cubicBezTo>
                  <a:cubicBezTo>
                    <a:pt x="3945" y="253"/>
                    <a:pt x="4222" y="276"/>
                    <a:pt x="4395" y="187"/>
                  </a:cubicBezTo>
                  <a:cubicBezTo>
                    <a:pt x="4565" y="98"/>
                    <a:pt x="4708" y="50"/>
                    <a:pt x="4843" y="51"/>
                  </a:cubicBez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reeform 37">
              <a:extLst>
                <a:ext uri="{FF2B5EF4-FFF2-40B4-BE49-F238E27FC236}">
                  <a16:creationId xmlns:a16="http://schemas.microsoft.com/office/drawing/2014/main" id="{DF330FA4-59E6-46FF-AD0B-66DF0031D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6639" y="5375275"/>
              <a:ext cx="2994025" cy="230188"/>
            </a:xfrm>
            <a:custGeom>
              <a:avLst/>
              <a:gdLst>
                <a:gd name="T0" fmla="*/ 4843 w 10903"/>
                <a:gd name="T1" fmla="*/ 51 h 838"/>
                <a:gd name="T2" fmla="*/ 5154 w 10903"/>
                <a:gd name="T3" fmla="*/ 148 h 838"/>
                <a:gd name="T4" fmla="*/ 5486 w 10903"/>
                <a:gd name="T5" fmla="*/ 227 h 838"/>
                <a:gd name="T6" fmla="*/ 5486 w 10903"/>
                <a:gd name="T7" fmla="*/ 242 h 838"/>
                <a:gd name="T8" fmla="*/ 5749 w 10903"/>
                <a:gd name="T9" fmla="*/ 166 h 838"/>
                <a:gd name="T10" fmla="*/ 6512 w 10903"/>
                <a:gd name="T11" fmla="*/ 204 h 838"/>
                <a:gd name="T12" fmla="*/ 7152 w 10903"/>
                <a:gd name="T13" fmla="*/ 170 h 838"/>
                <a:gd name="T14" fmla="*/ 7850 w 10903"/>
                <a:gd name="T15" fmla="*/ 189 h 838"/>
                <a:gd name="T16" fmla="*/ 8478 w 10903"/>
                <a:gd name="T17" fmla="*/ 189 h 838"/>
                <a:gd name="T18" fmla="*/ 9168 w 10903"/>
                <a:gd name="T19" fmla="*/ 170 h 838"/>
                <a:gd name="T20" fmla="*/ 9812 w 10903"/>
                <a:gd name="T21" fmla="*/ 204 h 838"/>
                <a:gd name="T22" fmla="*/ 10571 w 10903"/>
                <a:gd name="T23" fmla="*/ 166 h 838"/>
                <a:gd name="T24" fmla="*/ 10903 w 10903"/>
                <a:gd name="T25" fmla="*/ 245 h 838"/>
                <a:gd name="T26" fmla="*/ 10903 w 10903"/>
                <a:gd name="T27" fmla="*/ 801 h 838"/>
                <a:gd name="T28" fmla="*/ 10550 w 10903"/>
                <a:gd name="T29" fmla="*/ 714 h 838"/>
                <a:gd name="T30" fmla="*/ 9924 w 10903"/>
                <a:gd name="T31" fmla="*/ 699 h 838"/>
                <a:gd name="T32" fmla="*/ 9189 w 10903"/>
                <a:gd name="T33" fmla="*/ 717 h 838"/>
                <a:gd name="T34" fmla="*/ 8548 w 10903"/>
                <a:gd name="T35" fmla="*/ 696 h 838"/>
                <a:gd name="T36" fmla="*/ 7775 w 10903"/>
                <a:gd name="T37" fmla="*/ 701 h 838"/>
                <a:gd name="T38" fmla="*/ 7131 w 10903"/>
                <a:gd name="T39" fmla="*/ 717 h 838"/>
                <a:gd name="T40" fmla="*/ 6396 w 10903"/>
                <a:gd name="T41" fmla="*/ 699 h 838"/>
                <a:gd name="T42" fmla="*/ 5778 w 10903"/>
                <a:gd name="T43" fmla="*/ 714 h 838"/>
                <a:gd name="T44" fmla="*/ 5417 w 10903"/>
                <a:gd name="T45" fmla="*/ 801 h 838"/>
                <a:gd name="T46" fmla="*/ 5417 w 10903"/>
                <a:gd name="T47" fmla="*/ 781 h 838"/>
                <a:gd name="T48" fmla="*/ 5132 w 10903"/>
                <a:gd name="T49" fmla="*/ 696 h 838"/>
                <a:gd name="T50" fmla="*/ 4507 w 10903"/>
                <a:gd name="T51" fmla="*/ 681 h 838"/>
                <a:gd name="T52" fmla="*/ 3772 w 10903"/>
                <a:gd name="T53" fmla="*/ 699 h 838"/>
                <a:gd name="T54" fmla="*/ 3131 w 10903"/>
                <a:gd name="T55" fmla="*/ 678 h 838"/>
                <a:gd name="T56" fmla="*/ 2357 w 10903"/>
                <a:gd name="T57" fmla="*/ 683 h 838"/>
                <a:gd name="T58" fmla="*/ 1714 w 10903"/>
                <a:gd name="T59" fmla="*/ 699 h 838"/>
                <a:gd name="T60" fmla="*/ 978 w 10903"/>
                <a:gd name="T61" fmla="*/ 681 h 838"/>
                <a:gd name="T62" fmla="*/ 360 w 10903"/>
                <a:gd name="T63" fmla="*/ 696 h 838"/>
                <a:gd name="T64" fmla="*/ 0 w 10903"/>
                <a:gd name="T65" fmla="*/ 783 h 838"/>
                <a:gd name="T66" fmla="*/ 0 w 10903"/>
                <a:gd name="T67" fmla="*/ 227 h 838"/>
                <a:gd name="T68" fmla="*/ 332 w 10903"/>
                <a:gd name="T69" fmla="*/ 148 h 838"/>
                <a:gd name="T70" fmla="*/ 1095 w 10903"/>
                <a:gd name="T71" fmla="*/ 186 h 838"/>
                <a:gd name="T72" fmla="*/ 1734 w 10903"/>
                <a:gd name="T73" fmla="*/ 152 h 838"/>
                <a:gd name="T74" fmla="*/ 2432 w 10903"/>
                <a:gd name="T75" fmla="*/ 171 h 838"/>
                <a:gd name="T76" fmla="*/ 3060 w 10903"/>
                <a:gd name="T77" fmla="*/ 171 h 838"/>
                <a:gd name="T78" fmla="*/ 3751 w 10903"/>
                <a:gd name="T79" fmla="*/ 152 h 838"/>
                <a:gd name="T80" fmla="*/ 4395 w 10903"/>
                <a:gd name="T81" fmla="*/ 186 h 838"/>
                <a:gd name="T82" fmla="*/ 4843 w 10903"/>
                <a:gd name="T83" fmla="*/ 51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903" h="838">
                  <a:moveTo>
                    <a:pt x="4843" y="51"/>
                  </a:moveTo>
                  <a:cubicBezTo>
                    <a:pt x="4948" y="52"/>
                    <a:pt x="5048" y="83"/>
                    <a:pt x="5154" y="148"/>
                  </a:cubicBezTo>
                  <a:cubicBezTo>
                    <a:pt x="5154" y="148"/>
                    <a:pt x="5257" y="227"/>
                    <a:pt x="5486" y="227"/>
                  </a:cubicBezTo>
                  <a:lnTo>
                    <a:pt x="5486" y="242"/>
                  </a:lnTo>
                  <a:cubicBezTo>
                    <a:pt x="5669" y="229"/>
                    <a:pt x="5749" y="166"/>
                    <a:pt x="5749" y="166"/>
                  </a:cubicBezTo>
                  <a:cubicBezTo>
                    <a:pt x="5989" y="18"/>
                    <a:pt x="6210" y="47"/>
                    <a:pt x="6512" y="204"/>
                  </a:cubicBezTo>
                  <a:cubicBezTo>
                    <a:pt x="6685" y="294"/>
                    <a:pt x="6958" y="271"/>
                    <a:pt x="7152" y="170"/>
                  </a:cubicBezTo>
                  <a:cubicBezTo>
                    <a:pt x="7418" y="30"/>
                    <a:pt x="7570" y="64"/>
                    <a:pt x="7850" y="189"/>
                  </a:cubicBezTo>
                  <a:cubicBezTo>
                    <a:pt x="8066" y="285"/>
                    <a:pt x="8262" y="285"/>
                    <a:pt x="8478" y="189"/>
                  </a:cubicBezTo>
                  <a:cubicBezTo>
                    <a:pt x="8757" y="64"/>
                    <a:pt x="8901" y="30"/>
                    <a:pt x="9168" y="170"/>
                  </a:cubicBezTo>
                  <a:cubicBezTo>
                    <a:pt x="9362" y="271"/>
                    <a:pt x="9640" y="294"/>
                    <a:pt x="9812" y="204"/>
                  </a:cubicBezTo>
                  <a:cubicBezTo>
                    <a:pt x="10115" y="47"/>
                    <a:pt x="10331" y="18"/>
                    <a:pt x="10571" y="166"/>
                  </a:cubicBezTo>
                  <a:cubicBezTo>
                    <a:pt x="10571" y="166"/>
                    <a:pt x="10674" y="245"/>
                    <a:pt x="10903" y="245"/>
                  </a:cubicBezTo>
                  <a:lnTo>
                    <a:pt x="10903" y="801"/>
                  </a:lnTo>
                  <a:cubicBezTo>
                    <a:pt x="10759" y="801"/>
                    <a:pt x="10647" y="773"/>
                    <a:pt x="10550" y="714"/>
                  </a:cubicBezTo>
                  <a:cubicBezTo>
                    <a:pt x="10427" y="638"/>
                    <a:pt x="10197" y="560"/>
                    <a:pt x="9924" y="699"/>
                  </a:cubicBezTo>
                  <a:cubicBezTo>
                    <a:pt x="9651" y="838"/>
                    <a:pt x="9420" y="838"/>
                    <a:pt x="9189" y="717"/>
                  </a:cubicBezTo>
                  <a:cubicBezTo>
                    <a:pt x="8957" y="596"/>
                    <a:pt x="8830" y="574"/>
                    <a:pt x="8548" y="696"/>
                  </a:cubicBezTo>
                  <a:cubicBezTo>
                    <a:pt x="8276" y="835"/>
                    <a:pt x="8006" y="822"/>
                    <a:pt x="7775" y="701"/>
                  </a:cubicBezTo>
                  <a:cubicBezTo>
                    <a:pt x="7494" y="580"/>
                    <a:pt x="7362" y="596"/>
                    <a:pt x="7131" y="717"/>
                  </a:cubicBezTo>
                  <a:cubicBezTo>
                    <a:pt x="6900" y="838"/>
                    <a:pt x="6668" y="838"/>
                    <a:pt x="6396" y="699"/>
                  </a:cubicBezTo>
                  <a:cubicBezTo>
                    <a:pt x="6123" y="560"/>
                    <a:pt x="5901" y="639"/>
                    <a:pt x="5778" y="714"/>
                  </a:cubicBezTo>
                  <a:cubicBezTo>
                    <a:pt x="5675" y="776"/>
                    <a:pt x="5571" y="801"/>
                    <a:pt x="5417" y="801"/>
                  </a:cubicBezTo>
                  <a:lnTo>
                    <a:pt x="5417" y="781"/>
                  </a:lnTo>
                  <a:cubicBezTo>
                    <a:pt x="5305" y="773"/>
                    <a:pt x="5213" y="745"/>
                    <a:pt x="5132" y="696"/>
                  </a:cubicBezTo>
                  <a:cubicBezTo>
                    <a:pt x="5009" y="620"/>
                    <a:pt x="4780" y="542"/>
                    <a:pt x="4507" y="681"/>
                  </a:cubicBezTo>
                  <a:cubicBezTo>
                    <a:pt x="4234" y="820"/>
                    <a:pt x="4003" y="820"/>
                    <a:pt x="3772" y="699"/>
                  </a:cubicBezTo>
                  <a:cubicBezTo>
                    <a:pt x="3540" y="578"/>
                    <a:pt x="3412" y="556"/>
                    <a:pt x="3131" y="678"/>
                  </a:cubicBezTo>
                  <a:cubicBezTo>
                    <a:pt x="2858" y="817"/>
                    <a:pt x="2588" y="804"/>
                    <a:pt x="2357" y="683"/>
                  </a:cubicBezTo>
                  <a:cubicBezTo>
                    <a:pt x="2076" y="562"/>
                    <a:pt x="1945" y="578"/>
                    <a:pt x="1714" y="699"/>
                  </a:cubicBezTo>
                  <a:cubicBezTo>
                    <a:pt x="1482" y="820"/>
                    <a:pt x="1251" y="820"/>
                    <a:pt x="978" y="681"/>
                  </a:cubicBezTo>
                  <a:cubicBezTo>
                    <a:pt x="705" y="542"/>
                    <a:pt x="483" y="621"/>
                    <a:pt x="360" y="696"/>
                  </a:cubicBezTo>
                  <a:cubicBezTo>
                    <a:pt x="257" y="758"/>
                    <a:pt x="154" y="783"/>
                    <a:pt x="0" y="783"/>
                  </a:cubicBezTo>
                  <a:lnTo>
                    <a:pt x="0" y="227"/>
                  </a:lnTo>
                  <a:cubicBezTo>
                    <a:pt x="232" y="227"/>
                    <a:pt x="332" y="148"/>
                    <a:pt x="332" y="148"/>
                  </a:cubicBezTo>
                  <a:cubicBezTo>
                    <a:pt x="572" y="0"/>
                    <a:pt x="792" y="29"/>
                    <a:pt x="1095" y="186"/>
                  </a:cubicBezTo>
                  <a:cubicBezTo>
                    <a:pt x="1267" y="276"/>
                    <a:pt x="1541" y="253"/>
                    <a:pt x="1734" y="152"/>
                  </a:cubicBezTo>
                  <a:cubicBezTo>
                    <a:pt x="2001" y="13"/>
                    <a:pt x="2152" y="46"/>
                    <a:pt x="2432" y="171"/>
                  </a:cubicBezTo>
                  <a:cubicBezTo>
                    <a:pt x="2649" y="267"/>
                    <a:pt x="2844" y="267"/>
                    <a:pt x="3060" y="171"/>
                  </a:cubicBezTo>
                  <a:cubicBezTo>
                    <a:pt x="3340" y="46"/>
                    <a:pt x="3484" y="13"/>
                    <a:pt x="3751" y="152"/>
                  </a:cubicBezTo>
                  <a:cubicBezTo>
                    <a:pt x="3945" y="253"/>
                    <a:pt x="4222" y="276"/>
                    <a:pt x="4395" y="186"/>
                  </a:cubicBezTo>
                  <a:cubicBezTo>
                    <a:pt x="4565" y="98"/>
                    <a:pt x="4707" y="50"/>
                    <a:pt x="4843" y="51"/>
                  </a:cubicBez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reeform 38">
              <a:extLst>
                <a:ext uri="{FF2B5EF4-FFF2-40B4-BE49-F238E27FC236}">
                  <a16:creationId xmlns:a16="http://schemas.microsoft.com/office/drawing/2014/main" id="{89C67A38-5A9A-47E6-A123-9B743EE3D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227" y="4964113"/>
              <a:ext cx="1466850" cy="219075"/>
            </a:xfrm>
            <a:custGeom>
              <a:avLst/>
              <a:gdLst>
                <a:gd name="T0" fmla="*/ 3047 w 5342"/>
                <a:gd name="T1" fmla="*/ 663 h 796"/>
                <a:gd name="T2" fmla="*/ 3673 w 5342"/>
                <a:gd name="T3" fmla="*/ 679 h 796"/>
                <a:gd name="T4" fmla="*/ 4389 w 5342"/>
                <a:gd name="T5" fmla="*/ 661 h 796"/>
                <a:gd name="T6" fmla="*/ 4991 w 5342"/>
                <a:gd name="T7" fmla="*/ 675 h 796"/>
                <a:gd name="T8" fmla="*/ 5342 w 5342"/>
                <a:gd name="T9" fmla="*/ 760 h 796"/>
                <a:gd name="T10" fmla="*/ 5342 w 5342"/>
                <a:gd name="T11" fmla="*/ 220 h 796"/>
                <a:gd name="T12" fmla="*/ 5019 w 5342"/>
                <a:gd name="T13" fmla="*/ 144 h 796"/>
                <a:gd name="T14" fmla="*/ 4276 w 5342"/>
                <a:gd name="T15" fmla="*/ 181 h 796"/>
                <a:gd name="T16" fmla="*/ 3653 w 5342"/>
                <a:gd name="T17" fmla="*/ 148 h 796"/>
                <a:gd name="T18" fmla="*/ 2973 w 5342"/>
                <a:gd name="T19" fmla="*/ 166 h 796"/>
                <a:gd name="T20" fmla="*/ 2362 w 5342"/>
                <a:gd name="T21" fmla="*/ 166 h 796"/>
                <a:gd name="T22" fmla="*/ 1689 w 5342"/>
                <a:gd name="T23" fmla="*/ 148 h 796"/>
                <a:gd name="T24" fmla="*/ 1062 w 5342"/>
                <a:gd name="T25" fmla="*/ 181 h 796"/>
                <a:gd name="T26" fmla="*/ 324 w 5342"/>
                <a:gd name="T27" fmla="*/ 144 h 796"/>
                <a:gd name="T28" fmla="*/ 0 w 5342"/>
                <a:gd name="T29" fmla="*/ 220 h 796"/>
                <a:gd name="T30" fmla="*/ 0 w 5342"/>
                <a:gd name="T31" fmla="*/ 760 h 796"/>
                <a:gd name="T32" fmla="*/ 344 w 5342"/>
                <a:gd name="T33" fmla="*/ 675 h 796"/>
                <a:gd name="T34" fmla="*/ 953 w 5342"/>
                <a:gd name="T35" fmla="*/ 661 h 796"/>
                <a:gd name="T36" fmla="*/ 1669 w 5342"/>
                <a:gd name="T37" fmla="*/ 679 h 796"/>
                <a:gd name="T38" fmla="*/ 2293 w 5342"/>
                <a:gd name="T39" fmla="*/ 658 h 796"/>
                <a:gd name="T40" fmla="*/ 3047 w 5342"/>
                <a:gd name="T41" fmla="*/ 663 h 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2" h="796">
                  <a:moveTo>
                    <a:pt x="3047" y="663"/>
                  </a:moveTo>
                  <a:cubicBezTo>
                    <a:pt x="3320" y="545"/>
                    <a:pt x="3448" y="561"/>
                    <a:pt x="3673" y="679"/>
                  </a:cubicBezTo>
                  <a:cubicBezTo>
                    <a:pt x="3898" y="796"/>
                    <a:pt x="4124" y="796"/>
                    <a:pt x="4389" y="661"/>
                  </a:cubicBezTo>
                  <a:cubicBezTo>
                    <a:pt x="4655" y="526"/>
                    <a:pt x="4871" y="603"/>
                    <a:pt x="4991" y="675"/>
                  </a:cubicBezTo>
                  <a:cubicBezTo>
                    <a:pt x="5091" y="736"/>
                    <a:pt x="5192" y="760"/>
                    <a:pt x="5342" y="760"/>
                  </a:cubicBezTo>
                  <a:lnTo>
                    <a:pt x="5342" y="220"/>
                  </a:lnTo>
                  <a:cubicBezTo>
                    <a:pt x="5116" y="221"/>
                    <a:pt x="5019" y="144"/>
                    <a:pt x="5019" y="144"/>
                  </a:cubicBezTo>
                  <a:cubicBezTo>
                    <a:pt x="4785" y="0"/>
                    <a:pt x="4570" y="29"/>
                    <a:pt x="4276" y="181"/>
                  </a:cubicBezTo>
                  <a:cubicBezTo>
                    <a:pt x="4108" y="268"/>
                    <a:pt x="3841" y="245"/>
                    <a:pt x="3653" y="148"/>
                  </a:cubicBezTo>
                  <a:cubicBezTo>
                    <a:pt x="3393" y="13"/>
                    <a:pt x="3246" y="46"/>
                    <a:pt x="2973" y="166"/>
                  </a:cubicBezTo>
                  <a:cubicBezTo>
                    <a:pt x="2763" y="260"/>
                    <a:pt x="2572" y="260"/>
                    <a:pt x="2362" y="166"/>
                  </a:cubicBezTo>
                  <a:cubicBezTo>
                    <a:pt x="2090" y="45"/>
                    <a:pt x="1949" y="13"/>
                    <a:pt x="1689" y="148"/>
                  </a:cubicBezTo>
                  <a:cubicBezTo>
                    <a:pt x="1501" y="245"/>
                    <a:pt x="1230" y="268"/>
                    <a:pt x="1062" y="181"/>
                  </a:cubicBezTo>
                  <a:cubicBezTo>
                    <a:pt x="768" y="29"/>
                    <a:pt x="557" y="0"/>
                    <a:pt x="324" y="144"/>
                  </a:cubicBezTo>
                  <a:cubicBezTo>
                    <a:pt x="324" y="144"/>
                    <a:pt x="223" y="220"/>
                    <a:pt x="0" y="220"/>
                  </a:cubicBezTo>
                  <a:lnTo>
                    <a:pt x="0" y="760"/>
                  </a:lnTo>
                  <a:cubicBezTo>
                    <a:pt x="140" y="760"/>
                    <a:pt x="250" y="733"/>
                    <a:pt x="344" y="675"/>
                  </a:cubicBezTo>
                  <a:cubicBezTo>
                    <a:pt x="464" y="602"/>
                    <a:pt x="687" y="526"/>
                    <a:pt x="953" y="661"/>
                  </a:cubicBezTo>
                  <a:cubicBezTo>
                    <a:pt x="1219" y="796"/>
                    <a:pt x="1444" y="796"/>
                    <a:pt x="1669" y="679"/>
                  </a:cubicBezTo>
                  <a:cubicBezTo>
                    <a:pt x="1894" y="561"/>
                    <a:pt x="2019" y="540"/>
                    <a:pt x="2293" y="658"/>
                  </a:cubicBezTo>
                  <a:cubicBezTo>
                    <a:pt x="2559" y="793"/>
                    <a:pt x="2821" y="781"/>
                    <a:pt x="3047" y="663"/>
                  </a:cubicBez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reeform: Shape 108">
              <a:extLst>
                <a:ext uri="{FF2B5EF4-FFF2-40B4-BE49-F238E27FC236}">
                  <a16:creationId xmlns:a16="http://schemas.microsoft.com/office/drawing/2014/main" id="{4B3090B8-B443-405A-8A4F-6ACDF53F55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227" y="3649663"/>
              <a:ext cx="1468438" cy="1303964"/>
            </a:xfrm>
            <a:custGeom>
              <a:avLst/>
              <a:gdLst>
                <a:gd name="connsiteX0" fmla="*/ 547477 w 1468438"/>
                <a:gd name="connsiteY0" fmla="*/ 234950 h 1303964"/>
                <a:gd name="connsiteX1" fmla="*/ 547477 w 1468438"/>
                <a:gd name="connsiteY1" fmla="*/ 342948 h 1303964"/>
                <a:gd name="connsiteX2" fmla="*/ 425450 w 1468438"/>
                <a:gd name="connsiteY2" fmla="*/ 342948 h 1303964"/>
                <a:gd name="connsiteX3" fmla="*/ 425450 w 1468438"/>
                <a:gd name="connsiteY3" fmla="*/ 427038 h 1303964"/>
                <a:gd name="connsiteX4" fmla="*/ 734219 w 1468438"/>
                <a:gd name="connsiteY4" fmla="*/ 299804 h 1303964"/>
                <a:gd name="connsiteX5" fmla="*/ 1042988 w 1468438"/>
                <a:gd name="connsiteY5" fmla="*/ 427038 h 1303964"/>
                <a:gd name="connsiteX6" fmla="*/ 1042988 w 1468438"/>
                <a:gd name="connsiteY6" fmla="*/ 342948 h 1303964"/>
                <a:gd name="connsiteX7" fmla="*/ 921236 w 1468438"/>
                <a:gd name="connsiteY7" fmla="*/ 342948 h 1303964"/>
                <a:gd name="connsiteX8" fmla="*/ 921236 w 1468438"/>
                <a:gd name="connsiteY8" fmla="*/ 234950 h 1303964"/>
                <a:gd name="connsiteX9" fmla="*/ 734219 w 1468438"/>
                <a:gd name="connsiteY9" fmla="*/ 234950 h 1303964"/>
                <a:gd name="connsiteX10" fmla="*/ 627958 w 1468438"/>
                <a:gd name="connsiteY10" fmla="*/ 0 h 1303964"/>
                <a:gd name="connsiteX11" fmla="*/ 734219 w 1468438"/>
                <a:gd name="connsiteY11" fmla="*/ 0 h 1303964"/>
                <a:gd name="connsiteX12" fmla="*/ 840481 w 1468438"/>
                <a:gd name="connsiteY12" fmla="*/ 0 h 1303964"/>
                <a:gd name="connsiteX13" fmla="*/ 840481 w 1468438"/>
                <a:gd name="connsiteY13" fmla="*/ 146759 h 1303964"/>
                <a:gd name="connsiteX14" fmla="*/ 1011817 w 1468438"/>
                <a:gd name="connsiteY14" fmla="*/ 146759 h 1303964"/>
                <a:gd name="connsiteX15" fmla="*/ 1011817 w 1468438"/>
                <a:gd name="connsiteY15" fmla="*/ 256417 h 1303964"/>
                <a:gd name="connsiteX16" fmla="*/ 1133729 w 1468438"/>
                <a:gd name="connsiteY16" fmla="*/ 256417 h 1303964"/>
                <a:gd name="connsiteX17" fmla="*/ 1133729 w 1468438"/>
                <a:gd name="connsiteY17" fmla="*/ 464463 h 1303964"/>
                <a:gd name="connsiteX18" fmla="*/ 1197156 w 1468438"/>
                <a:gd name="connsiteY18" fmla="*/ 490022 h 1303964"/>
                <a:gd name="connsiteX19" fmla="*/ 1235322 w 1468438"/>
                <a:gd name="connsiteY19" fmla="*/ 577143 h 1303964"/>
                <a:gd name="connsiteX20" fmla="*/ 1130708 w 1468438"/>
                <a:gd name="connsiteY20" fmla="*/ 817620 h 1303964"/>
                <a:gd name="connsiteX21" fmla="*/ 1130708 w 1468438"/>
                <a:gd name="connsiteY21" fmla="*/ 1152088 h 1303964"/>
                <a:gd name="connsiteX22" fmla="*/ 1379750 w 1468438"/>
                <a:gd name="connsiteY22" fmla="*/ 1137247 h 1303964"/>
                <a:gd name="connsiteX23" fmla="*/ 1468438 w 1468438"/>
                <a:gd name="connsiteY23" fmla="*/ 1158134 h 1303964"/>
                <a:gd name="connsiteX24" fmla="*/ 1468438 w 1468438"/>
                <a:gd name="connsiteY24" fmla="*/ 1302694 h 1303964"/>
                <a:gd name="connsiteX25" fmla="*/ 1374807 w 1468438"/>
                <a:gd name="connsiteY25" fmla="*/ 1275211 h 1303964"/>
                <a:gd name="connsiteX26" fmla="*/ 1206766 w 1468438"/>
                <a:gd name="connsiteY26" fmla="*/ 1275486 h 1303964"/>
                <a:gd name="connsiteX27" fmla="*/ 1010169 w 1468438"/>
                <a:gd name="connsiteY27" fmla="*/ 1280433 h 1303964"/>
                <a:gd name="connsiteX28" fmla="*/ 835538 w 1468438"/>
                <a:gd name="connsiteY28" fmla="*/ 1276311 h 1303964"/>
                <a:gd name="connsiteX29" fmla="*/ 632077 w 1468438"/>
                <a:gd name="connsiteY29" fmla="*/ 1275486 h 1303964"/>
                <a:gd name="connsiteX30" fmla="*/ 458269 w 1468438"/>
                <a:gd name="connsiteY30" fmla="*/ 1280433 h 1303964"/>
                <a:gd name="connsiteX31" fmla="*/ 261672 w 1468438"/>
                <a:gd name="connsiteY31" fmla="*/ 1275486 h 1303964"/>
                <a:gd name="connsiteX32" fmla="*/ 93631 w 1468438"/>
                <a:gd name="connsiteY32" fmla="*/ 1275211 h 1303964"/>
                <a:gd name="connsiteX33" fmla="*/ 0 w 1468438"/>
                <a:gd name="connsiteY33" fmla="*/ 1302694 h 1303964"/>
                <a:gd name="connsiteX34" fmla="*/ 0 w 1468438"/>
                <a:gd name="connsiteY34" fmla="*/ 1159233 h 1303964"/>
                <a:gd name="connsiteX35" fmla="*/ 88963 w 1468438"/>
                <a:gd name="connsiteY35" fmla="*/ 1138346 h 1303964"/>
                <a:gd name="connsiteX36" fmla="*/ 337730 w 1468438"/>
                <a:gd name="connsiteY36" fmla="*/ 1152088 h 1303964"/>
                <a:gd name="connsiteX37" fmla="*/ 337730 w 1468438"/>
                <a:gd name="connsiteY37" fmla="*/ 817620 h 1303964"/>
                <a:gd name="connsiteX38" fmla="*/ 233116 w 1468438"/>
                <a:gd name="connsiteY38" fmla="*/ 577143 h 1303964"/>
                <a:gd name="connsiteX39" fmla="*/ 271282 w 1468438"/>
                <a:gd name="connsiteY39" fmla="*/ 490022 h 1303964"/>
                <a:gd name="connsiteX40" fmla="*/ 334710 w 1468438"/>
                <a:gd name="connsiteY40" fmla="*/ 464463 h 1303964"/>
                <a:gd name="connsiteX41" fmla="*/ 334710 w 1468438"/>
                <a:gd name="connsiteY41" fmla="*/ 256417 h 1303964"/>
                <a:gd name="connsiteX42" fmla="*/ 456896 w 1468438"/>
                <a:gd name="connsiteY42" fmla="*/ 256417 h 1303964"/>
                <a:gd name="connsiteX43" fmla="*/ 456896 w 1468438"/>
                <a:gd name="connsiteY43" fmla="*/ 146759 h 1303964"/>
                <a:gd name="connsiteX44" fmla="*/ 627958 w 1468438"/>
                <a:gd name="connsiteY44" fmla="*/ 146759 h 130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468438" h="1303964">
                  <a:moveTo>
                    <a:pt x="547477" y="234950"/>
                  </a:moveTo>
                  <a:lnTo>
                    <a:pt x="547477" y="342948"/>
                  </a:lnTo>
                  <a:lnTo>
                    <a:pt x="425450" y="342948"/>
                  </a:lnTo>
                  <a:lnTo>
                    <a:pt x="425450" y="427038"/>
                  </a:lnTo>
                  <a:lnTo>
                    <a:pt x="734219" y="299804"/>
                  </a:lnTo>
                  <a:lnTo>
                    <a:pt x="1042988" y="427038"/>
                  </a:lnTo>
                  <a:lnTo>
                    <a:pt x="1042988" y="342948"/>
                  </a:lnTo>
                  <a:lnTo>
                    <a:pt x="921236" y="342948"/>
                  </a:lnTo>
                  <a:lnTo>
                    <a:pt x="921236" y="234950"/>
                  </a:lnTo>
                  <a:lnTo>
                    <a:pt x="734219" y="234950"/>
                  </a:lnTo>
                  <a:close/>
                  <a:moveTo>
                    <a:pt x="627958" y="0"/>
                  </a:moveTo>
                  <a:lnTo>
                    <a:pt x="734219" y="0"/>
                  </a:lnTo>
                  <a:lnTo>
                    <a:pt x="840481" y="0"/>
                  </a:lnTo>
                  <a:lnTo>
                    <a:pt x="840481" y="146759"/>
                  </a:lnTo>
                  <a:lnTo>
                    <a:pt x="1011817" y="146759"/>
                  </a:lnTo>
                  <a:lnTo>
                    <a:pt x="1011817" y="256417"/>
                  </a:lnTo>
                  <a:lnTo>
                    <a:pt x="1133729" y="256417"/>
                  </a:lnTo>
                  <a:lnTo>
                    <a:pt x="1133729" y="464463"/>
                  </a:lnTo>
                  <a:lnTo>
                    <a:pt x="1197156" y="490022"/>
                  </a:lnTo>
                  <a:cubicBezTo>
                    <a:pt x="1235322" y="506237"/>
                    <a:pt x="1251248" y="540041"/>
                    <a:pt x="1235322" y="577143"/>
                  </a:cubicBezTo>
                  <a:lnTo>
                    <a:pt x="1130708" y="817620"/>
                  </a:lnTo>
                  <a:lnTo>
                    <a:pt x="1130708" y="1152088"/>
                  </a:lnTo>
                  <a:cubicBezTo>
                    <a:pt x="1198529" y="1152088"/>
                    <a:pt x="1253444" y="1068539"/>
                    <a:pt x="1379750" y="1137247"/>
                  </a:cubicBezTo>
                  <a:cubicBezTo>
                    <a:pt x="1379750" y="1137247"/>
                    <a:pt x="1413797" y="1156760"/>
                    <a:pt x="1468438" y="1158134"/>
                  </a:cubicBezTo>
                  <a:lnTo>
                    <a:pt x="1468438" y="1302694"/>
                  </a:lnTo>
                  <a:cubicBezTo>
                    <a:pt x="1425604" y="1299671"/>
                    <a:pt x="1404736" y="1291426"/>
                    <a:pt x="1374807" y="1275211"/>
                  </a:cubicBezTo>
                  <a:cubicBezTo>
                    <a:pt x="1341034" y="1257073"/>
                    <a:pt x="1279804" y="1238384"/>
                    <a:pt x="1206766" y="1275486"/>
                  </a:cubicBezTo>
                  <a:cubicBezTo>
                    <a:pt x="1133729" y="1312588"/>
                    <a:pt x="1071949" y="1312588"/>
                    <a:pt x="1010169" y="1280433"/>
                  </a:cubicBezTo>
                  <a:cubicBezTo>
                    <a:pt x="948389" y="1248003"/>
                    <a:pt x="894847" y="1246354"/>
                    <a:pt x="835538" y="1276311"/>
                  </a:cubicBezTo>
                  <a:cubicBezTo>
                    <a:pt x="762226" y="1312863"/>
                    <a:pt x="704839" y="1312588"/>
                    <a:pt x="632077" y="1275486"/>
                  </a:cubicBezTo>
                  <a:cubicBezTo>
                    <a:pt x="574141" y="1246354"/>
                    <a:pt x="520049" y="1248003"/>
                    <a:pt x="458269" y="1280433"/>
                  </a:cubicBezTo>
                  <a:cubicBezTo>
                    <a:pt x="396489" y="1312588"/>
                    <a:pt x="334710" y="1312588"/>
                    <a:pt x="261672" y="1275486"/>
                  </a:cubicBezTo>
                  <a:cubicBezTo>
                    <a:pt x="188635" y="1238384"/>
                    <a:pt x="127129" y="1256523"/>
                    <a:pt x="93631" y="1275211"/>
                  </a:cubicBezTo>
                  <a:cubicBezTo>
                    <a:pt x="62055" y="1293075"/>
                    <a:pt x="42011" y="1299671"/>
                    <a:pt x="0" y="1302694"/>
                  </a:cubicBezTo>
                  <a:lnTo>
                    <a:pt x="0" y="1159233"/>
                  </a:lnTo>
                  <a:cubicBezTo>
                    <a:pt x="53543" y="1158134"/>
                    <a:pt x="88963" y="1138346"/>
                    <a:pt x="88963" y="1138346"/>
                  </a:cubicBezTo>
                  <a:cubicBezTo>
                    <a:pt x="212248" y="1069913"/>
                    <a:pt x="269909" y="1152088"/>
                    <a:pt x="337730" y="1152088"/>
                  </a:cubicBezTo>
                  <a:lnTo>
                    <a:pt x="337730" y="817620"/>
                  </a:lnTo>
                  <a:lnTo>
                    <a:pt x="233116" y="577143"/>
                  </a:lnTo>
                  <a:cubicBezTo>
                    <a:pt x="217191" y="540041"/>
                    <a:pt x="233116" y="506237"/>
                    <a:pt x="271282" y="490022"/>
                  </a:cubicBezTo>
                  <a:lnTo>
                    <a:pt x="334710" y="464463"/>
                  </a:lnTo>
                  <a:lnTo>
                    <a:pt x="334710" y="256417"/>
                  </a:lnTo>
                  <a:lnTo>
                    <a:pt x="456896" y="256417"/>
                  </a:lnTo>
                  <a:lnTo>
                    <a:pt x="456896" y="146759"/>
                  </a:lnTo>
                  <a:lnTo>
                    <a:pt x="627958" y="146759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reeform 41">
              <a:extLst>
                <a:ext uri="{FF2B5EF4-FFF2-40B4-BE49-F238E27FC236}">
                  <a16:creationId xmlns:a16="http://schemas.microsoft.com/office/drawing/2014/main" id="{7C6825AA-E9F4-46C5-8CEE-041C4994F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6827" y="4467225"/>
              <a:ext cx="1485900" cy="792163"/>
            </a:xfrm>
            <a:custGeom>
              <a:avLst/>
              <a:gdLst>
                <a:gd name="T0" fmla="*/ 0 w 5413"/>
                <a:gd name="T1" fmla="*/ 0 h 2879"/>
                <a:gd name="T2" fmla="*/ 0 w 5413"/>
                <a:gd name="T3" fmla="*/ 2594 h 2879"/>
                <a:gd name="T4" fmla="*/ 256 w 5413"/>
                <a:gd name="T5" fmla="*/ 2519 h 2879"/>
                <a:gd name="T6" fmla="*/ 1019 w 5413"/>
                <a:gd name="T7" fmla="*/ 2557 h 2879"/>
                <a:gd name="T8" fmla="*/ 1658 w 5413"/>
                <a:gd name="T9" fmla="*/ 2522 h 2879"/>
                <a:gd name="T10" fmla="*/ 2356 w 5413"/>
                <a:gd name="T11" fmla="*/ 2541 h 2879"/>
                <a:gd name="T12" fmla="*/ 2984 w 5413"/>
                <a:gd name="T13" fmla="*/ 2541 h 2879"/>
                <a:gd name="T14" fmla="*/ 3675 w 5413"/>
                <a:gd name="T15" fmla="*/ 2522 h 2879"/>
                <a:gd name="T16" fmla="*/ 4319 w 5413"/>
                <a:gd name="T17" fmla="*/ 2557 h 2879"/>
                <a:gd name="T18" fmla="*/ 5077 w 5413"/>
                <a:gd name="T19" fmla="*/ 2519 h 2879"/>
                <a:gd name="T20" fmla="*/ 5409 w 5413"/>
                <a:gd name="T21" fmla="*/ 2597 h 2879"/>
                <a:gd name="T22" fmla="*/ 5409 w 5413"/>
                <a:gd name="T23" fmla="*/ 2879 h 2879"/>
                <a:gd name="T24" fmla="*/ 5413 w 5413"/>
                <a:gd name="T25" fmla="*/ 2879 h 2879"/>
                <a:gd name="T26" fmla="*/ 5413 w 5413"/>
                <a:gd name="T27" fmla="*/ 0 h 2879"/>
                <a:gd name="T28" fmla="*/ 0 w 5413"/>
                <a:gd name="T29" fmla="*/ 0 h 2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13" h="2879">
                  <a:moveTo>
                    <a:pt x="0" y="0"/>
                  </a:moveTo>
                  <a:lnTo>
                    <a:pt x="0" y="2594"/>
                  </a:lnTo>
                  <a:cubicBezTo>
                    <a:pt x="178" y="2580"/>
                    <a:pt x="256" y="2519"/>
                    <a:pt x="256" y="2519"/>
                  </a:cubicBezTo>
                  <a:cubicBezTo>
                    <a:pt x="496" y="2370"/>
                    <a:pt x="716" y="2400"/>
                    <a:pt x="1019" y="2557"/>
                  </a:cubicBezTo>
                  <a:cubicBezTo>
                    <a:pt x="1191" y="2647"/>
                    <a:pt x="1465" y="2623"/>
                    <a:pt x="1658" y="2522"/>
                  </a:cubicBezTo>
                  <a:cubicBezTo>
                    <a:pt x="1925" y="2383"/>
                    <a:pt x="2076" y="2417"/>
                    <a:pt x="2356" y="2541"/>
                  </a:cubicBezTo>
                  <a:cubicBezTo>
                    <a:pt x="2573" y="2638"/>
                    <a:pt x="2768" y="2638"/>
                    <a:pt x="2984" y="2541"/>
                  </a:cubicBezTo>
                  <a:cubicBezTo>
                    <a:pt x="3264" y="2417"/>
                    <a:pt x="3408" y="2383"/>
                    <a:pt x="3675" y="2522"/>
                  </a:cubicBezTo>
                  <a:cubicBezTo>
                    <a:pt x="3868" y="2623"/>
                    <a:pt x="4146" y="2647"/>
                    <a:pt x="4319" y="2557"/>
                  </a:cubicBezTo>
                  <a:cubicBezTo>
                    <a:pt x="4621" y="2400"/>
                    <a:pt x="4837" y="2370"/>
                    <a:pt x="5077" y="2519"/>
                  </a:cubicBezTo>
                  <a:cubicBezTo>
                    <a:pt x="5077" y="2519"/>
                    <a:pt x="5181" y="2597"/>
                    <a:pt x="5409" y="2597"/>
                  </a:cubicBezTo>
                  <a:lnTo>
                    <a:pt x="5409" y="2879"/>
                  </a:lnTo>
                  <a:lnTo>
                    <a:pt x="5413" y="2879"/>
                  </a:lnTo>
                  <a:lnTo>
                    <a:pt x="541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reeform 42">
              <a:extLst>
                <a:ext uri="{FF2B5EF4-FFF2-40B4-BE49-F238E27FC236}">
                  <a16:creationId xmlns:a16="http://schemas.microsoft.com/office/drawing/2014/main" id="{8CD0780E-4635-4C75-A67F-543C725860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0277" y="2801938"/>
              <a:ext cx="1092200" cy="1874838"/>
            </a:xfrm>
            <a:custGeom>
              <a:avLst/>
              <a:gdLst>
                <a:gd name="T0" fmla="*/ 1153 w 3976"/>
                <a:gd name="T1" fmla="*/ 72 h 6823"/>
                <a:gd name="T2" fmla="*/ 666 w 3976"/>
                <a:gd name="T3" fmla="*/ 614 h 6823"/>
                <a:gd name="T4" fmla="*/ 307 w 3976"/>
                <a:gd name="T5" fmla="*/ 2729 h 6823"/>
                <a:gd name="T6" fmla="*/ 17 w 3976"/>
                <a:gd name="T7" fmla="*/ 3044 h 6823"/>
                <a:gd name="T8" fmla="*/ 1138 w 3976"/>
                <a:gd name="T9" fmla="*/ 884 h 6823"/>
                <a:gd name="T10" fmla="*/ 2099 w 3976"/>
                <a:gd name="T11" fmla="*/ 3995 h 6823"/>
                <a:gd name="T12" fmla="*/ 2239 w 3976"/>
                <a:gd name="T13" fmla="*/ 4901 h 6823"/>
                <a:gd name="T14" fmla="*/ 2498 w 3976"/>
                <a:gd name="T15" fmla="*/ 5203 h 6823"/>
                <a:gd name="T16" fmla="*/ 2642 w 3976"/>
                <a:gd name="T17" fmla="*/ 5348 h 6823"/>
                <a:gd name="T18" fmla="*/ 2594 w 3976"/>
                <a:gd name="T19" fmla="*/ 5556 h 6823"/>
                <a:gd name="T20" fmla="*/ 3151 w 3976"/>
                <a:gd name="T21" fmla="*/ 6823 h 6823"/>
                <a:gd name="T22" fmla="*/ 3498 w 3976"/>
                <a:gd name="T23" fmla="*/ 5576 h 6823"/>
                <a:gd name="T24" fmla="*/ 3371 w 3976"/>
                <a:gd name="T25" fmla="*/ 5027 h 6823"/>
                <a:gd name="T26" fmla="*/ 3009 w 3976"/>
                <a:gd name="T27" fmla="*/ 5104 h 6823"/>
                <a:gd name="T28" fmla="*/ 3655 w 3976"/>
                <a:gd name="T29" fmla="*/ 3568 h 6823"/>
                <a:gd name="T30" fmla="*/ 3667 w 3976"/>
                <a:gd name="T31" fmla="*/ 3754 h 6823"/>
                <a:gd name="T32" fmla="*/ 3976 w 3976"/>
                <a:gd name="T33" fmla="*/ 3851 h 6823"/>
                <a:gd name="T34" fmla="*/ 3811 w 3976"/>
                <a:gd name="T35" fmla="*/ 3648 h 6823"/>
                <a:gd name="T36" fmla="*/ 3580 w 3976"/>
                <a:gd name="T37" fmla="*/ 2868 h 6823"/>
                <a:gd name="T38" fmla="*/ 3523 w 3976"/>
                <a:gd name="T39" fmla="*/ 2921 h 6823"/>
                <a:gd name="T40" fmla="*/ 1417 w 3976"/>
                <a:gd name="T41" fmla="*/ 239 h 6823"/>
                <a:gd name="T42" fmla="*/ 1272 w 3976"/>
                <a:gd name="T43" fmla="*/ 7 h 6823"/>
                <a:gd name="T44" fmla="*/ 1277 w 3976"/>
                <a:gd name="T45" fmla="*/ 146 h 6823"/>
                <a:gd name="T46" fmla="*/ 3294 w 3976"/>
                <a:gd name="T47" fmla="*/ 3081 h 6823"/>
                <a:gd name="T48" fmla="*/ 1176 w 3976"/>
                <a:gd name="T49" fmla="*/ 745 h 6823"/>
                <a:gd name="T50" fmla="*/ 1277 w 3976"/>
                <a:gd name="T51" fmla="*/ 146 h 6823"/>
                <a:gd name="T52" fmla="*/ 1043 w 3976"/>
                <a:gd name="T53" fmla="*/ 714 h 6823"/>
                <a:gd name="T54" fmla="*/ 745 w 3976"/>
                <a:gd name="T55" fmla="*/ 630 h 6823"/>
                <a:gd name="T56" fmla="*/ 715 w 3976"/>
                <a:gd name="T57" fmla="*/ 677 h 6823"/>
                <a:gd name="T58" fmla="*/ 385 w 3976"/>
                <a:gd name="T59" fmla="*/ 2517 h 6823"/>
                <a:gd name="T60" fmla="*/ 3530 w 3976"/>
                <a:gd name="T61" fmla="*/ 2962 h 6823"/>
                <a:gd name="T62" fmla="*/ 3569 w 3976"/>
                <a:gd name="T63" fmla="*/ 3360 h 6823"/>
                <a:gd name="T64" fmla="*/ 3385 w 3976"/>
                <a:gd name="T65" fmla="*/ 3063 h 6823"/>
                <a:gd name="T66" fmla="*/ 3316 w 3976"/>
                <a:gd name="T67" fmla="*/ 3112 h 6823"/>
                <a:gd name="T68" fmla="*/ 3520 w 3976"/>
                <a:gd name="T69" fmla="*/ 3378 h 6823"/>
                <a:gd name="T70" fmla="*/ 3420 w 3976"/>
                <a:gd name="T71" fmla="*/ 3485 h 6823"/>
                <a:gd name="T72" fmla="*/ 3284 w 3976"/>
                <a:gd name="T73" fmla="*/ 3424 h 6823"/>
                <a:gd name="T74" fmla="*/ 3030 w 3976"/>
                <a:gd name="T75" fmla="*/ 3625 h 6823"/>
                <a:gd name="T76" fmla="*/ 3316 w 3976"/>
                <a:gd name="T77" fmla="*/ 3112 h 6823"/>
                <a:gd name="T78" fmla="*/ 3031 w 3976"/>
                <a:gd name="T79" fmla="*/ 3869 h 6823"/>
                <a:gd name="T80" fmla="*/ 2719 w 3976"/>
                <a:gd name="T81" fmla="*/ 4881 h 6823"/>
                <a:gd name="T82" fmla="*/ 2379 w 3976"/>
                <a:gd name="T83" fmla="*/ 4088 h 6823"/>
                <a:gd name="T84" fmla="*/ 3030 w 3976"/>
                <a:gd name="T85" fmla="*/ 3681 h 6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976" h="6823">
                  <a:moveTo>
                    <a:pt x="1215" y="0"/>
                  </a:moveTo>
                  <a:lnTo>
                    <a:pt x="1153" y="72"/>
                  </a:lnTo>
                  <a:lnTo>
                    <a:pt x="1153" y="126"/>
                  </a:lnTo>
                  <a:lnTo>
                    <a:pt x="666" y="614"/>
                  </a:lnTo>
                  <a:lnTo>
                    <a:pt x="340" y="2639"/>
                  </a:lnTo>
                  <a:lnTo>
                    <a:pt x="307" y="2729"/>
                  </a:lnTo>
                  <a:lnTo>
                    <a:pt x="0" y="2974"/>
                  </a:lnTo>
                  <a:lnTo>
                    <a:pt x="17" y="3044"/>
                  </a:lnTo>
                  <a:lnTo>
                    <a:pt x="339" y="2856"/>
                  </a:lnTo>
                  <a:lnTo>
                    <a:pt x="1138" y="884"/>
                  </a:lnTo>
                  <a:lnTo>
                    <a:pt x="1854" y="3249"/>
                  </a:lnTo>
                  <a:lnTo>
                    <a:pt x="2099" y="3995"/>
                  </a:lnTo>
                  <a:lnTo>
                    <a:pt x="2449" y="4892"/>
                  </a:lnTo>
                  <a:lnTo>
                    <a:pt x="2239" y="4901"/>
                  </a:lnTo>
                  <a:lnTo>
                    <a:pt x="2258" y="5182"/>
                  </a:lnTo>
                  <a:lnTo>
                    <a:pt x="2498" y="5203"/>
                  </a:lnTo>
                  <a:lnTo>
                    <a:pt x="2536" y="5348"/>
                  </a:lnTo>
                  <a:lnTo>
                    <a:pt x="2642" y="5348"/>
                  </a:lnTo>
                  <a:lnTo>
                    <a:pt x="2642" y="5535"/>
                  </a:lnTo>
                  <a:lnTo>
                    <a:pt x="2594" y="5556"/>
                  </a:lnTo>
                  <a:lnTo>
                    <a:pt x="2585" y="6823"/>
                  </a:lnTo>
                  <a:lnTo>
                    <a:pt x="3151" y="6823"/>
                  </a:lnTo>
                  <a:lnTo>
                    <a:pt x="3081" y="5592"/>
                  </a:lnTo>
                  <a:lnTo>
                    <a:pt x="3498" y="5576"/>
                  </a:lnTo>
                  <a:lnTo>
                    <a:pt x="3498" y="5037"/>
                  </a:lnTo>
                  <a:lnTo>
                    <a:pt x="3371" y="5027"/>
                  </a:lnTo>
                  <a:lnTo>
                    <a:pt x="3355" y="5108"/>
                  </a:lnTo>
                  <a:lnTo>
                    <a:pt x="3009" y="5104"/>
                  </a:lnTo>
                  <a:lnTo>
                    <a:pt x="3577" y="3583"/>
                  </a:lnTo>
                  <a:lnTo>
                    <a:pt x="3655" y="3568"/>
                  </a:lnTo>
                  <a:lnTo>
                    <a:pt x="3710" y="3718"/>
                  </a:lnTo>
                  <a:lnTo>
                    <a:pt x="3667" y="3754"/>
                  </a:lnTo>
                  <a:lnTo>
                    <a:pt x="3726" y="4010"/>
                  </a:lnTo>
                  <a:lnTo>
                    <a:pt x="3976" y="3851"/>
                  </a:lnTo>
                  <a:lnTo>
                    <a:pt x="3901" y="3605"/>
                  </a:lnTo>
                  <a:lnTo>
                    <a:pt x="3811" y="3648"/>
                  </a:lnTo>
                  <a:lnTo>
                    <a:pt x="3754" y="3336"/>
                  </a:lnTo>
                  <a:lnTo>
                    <a:pt x="3580" y="2868"/>
                  </a:lnTo>
                  <a:lnTo>
                    <a:pt x="3517" y="2883"/>
                  </a:lnTo>
                  <a:lnTo>
                    <a:pt x="3523" y="2921"/>
                  </a:lnTo>
                  <a:lnTo>
                    <a:pt x="3364" y="3032"/>
                  </a:lnTo>
                  <a:lnTo>
                    <a:pt x="1417" y="239"/>
                  </a:lnTo>
                  <a:lnTo>
                    <a:pt x="1311" y="109"/>
                  </a:lnTo>
                  <a:lnTo>
                    <a:pt x="1272" y="7"/>
                  </a:lnTo>
                  <a:lnTo>
                    <a:pt x="1215" y="0"/>
                  </a:lnTo>
                  <a:close/>
                  <a:moveTo>
                    <a:pt x="1277" y="146"/>
                  </a:moveTo>
                  <a:lnTo>
                    <a:pt x="1396" y="359"/>
                  </a:lnTo>
                  <a:lnTo>
                    <a:pt x="3294" y="3081"/>
                  </a:lnTo>
                  <a:lnTo>
                    <a:pt x="2272" y="3790"/>
                  </a:lnTo>
                  <a:lnTo>
                    <a:pt x="1176" y="745"/>
                  </a:lnTo>
                  <a:lnTo>
                    <a:pt x="1248" y="210"/>
                  </a:lnTo>
                  <a:lnTo>
                    <a:pt x="1277" y="146"/>
                  </a:lnTo>
                  <a:close/>
                  <a:moveTo>
                    <a:pt x="1138" y="212"/>
                  </a:moveTo>
                  <a:lnTo>
                    <a:pt x="1043" y="714"/>
                  </a:lnTo>
                  <a:lnTo>
                    <a:pt x="1038" y="726"/>
                  </a:lnTo>
                  <a:lnTo>
                    <a:pt x="745" y="630"/>
                  </a:lnTo>
                  <a:lnTo>
                    <a:pt x="1138" y="212"/>
                  </a:lnTo>
                  <a:close/>
                  <a:moveTo>
                    <a:pt x="715" y="677"/>
                  </a:moveTo>
                  <a:lnTo>
                    <a:pt x="1020" y="778"/>
                  </a:lnTo>
                  <a:lnTo>
                    <a:pt x="385" y="2517"/>
                  </a:lnTo>
                  <a:lnTo>
                    <a:pt x="715" y="677"/>
                  </a:lnTo>
                  <a:close/>
                  <a:moveTo>
                    <a:pt x="3530" y="2962"/>
                  </a:moveTo>
                  <a:lnTo>
                    <a:pt x="3593" y="3351"/>
                  </a:lnTo>
                  <a:lnTo>
                    <a:pt x="3569" y="3360"/>
                  </a:lnTo>
                  <a:lnTo>
                    <a:pt x="3431" y="3129"/>
                  </a:lnTo>
                  <a:lnTo>
                    <a:pt x="3385" y="3063"/>
                  </a:lnTo>
                  <a:lnTo>
                    <a:pt x="3530" y="2962"/>
                  </a:lnTo>
                  <a:close/>
                  <a:moveTo>
                    <a:pt x="3316" y="3112"/>
                  </a:moveTo>
                  <a:lnTo>
                    <a:pt x="3366" y="3183"/>
                  </a:lnTo>
                  <a:lnTo>
                    <a:pt x="3520" y="3378"/>
                  </a:lnTo>
                  <a:lnTo>
                    <a:pt x="3451" y="3403"/>
                  </a:lnTo>
                  <a:lnTo>
                    <a:pt x="3420" y="3485"/>
                  </a:lnTo>
                  <a:lnTo>
                    <a:pt x="3294" y="3493"/>
                  </a:lnTo>
                  <a:lnTo>
                    <a:pt x="3284" y="3424"/>
                  </a:lnTo>
                  <a:lnTo>
                    <a:pt x="3029" y="3451"/>
                  </a:lnTo>
                  <a:lnTo>
                    <a:pt x="3030" y="3625"/>
                  </a:lnTo>
                  <a:lnTo>
                    <a:pt x="2374" y="3772"/>
                  </a:lnTo>
                  <a:lnTo>
                    <a:pt x="3316" y="3112"/>
                  </a:lnTo>
                  <a:close/>
                  <a:moveTo>
                    <a:pt x="3030" y="3681"/>
                  </a:moveTo>
                  <a:lnTo>
                    <a:pt x="3031" y="3869"/>
                  </a:lnTo>
                  <a:lnTo>
                    <a:pt x="3222" y="3880"/>
                  </a:lnTo>
                  <a:lnTo>
                    <a:pt x="2719" y="4881"/>
                  </a:lnTo>
                  <a:lnTo>
                    <a:pt x="2592" y="4886"/>
                  </a:lnTo>
                  <a:lnTo>
                    <a:pt x="2379" y="4088"/>
                  </a:lnTo>
                  <a:lnTo>
                    <a:pt x="2291" y="3844"/>
                  </a:lnTo>
                  <a:lnTo>
                    <a:pt x="3030" y="3681"/>
                  </a:lnTo>
                  <a:close/>
                </a:path>
              </a:pathLst>
            </a:custGeom>
            <a:grpFill/>
            <a:ln w="1588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reeform 43">
              <a:extLst>
                <a:ext uri="{FF2B5EF4-FFF2-40B4-BE49-F238E27FC236}">
                  <a16:creationId xmlns:a16="http://schemas.microsoft.com/office/drawing/2014/main" id="{AAC3230D-ACA3-4D8F-A096-EB709DA9C9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8402" y="2695575"/>
              <a:ext cx="1257300" cy="2057400"/>
            </a:xfrm>
            <a:custGeom>
              <a:avLst/>
              <a:gdLst>
                <a:gd name="T0" fmla="*/ 1328 w 4580"/>
                <a:gd name="T1" fmla="*/ 79 h 7485"/>
                <a:gd name="T2" fmla="*/ 768 w 4580"/>
                <a:gd name="T3" fmla="*/ 674 h 7485"/>
                <a:gd name="T4" fmla="*/ 354 w 4580"/>
                <a:gd name="T5" fmla="*/ 2994 h 7485"/>
                <a:gd name="T6" fmla="*/ 19 w 4580"/>
                <a:gd name="T7" fmla="*/ 3339 h 7485"/>
                <a:gd name="T8" fmla="*/ 1310 w 4580"/>
                <a:gd name="T9" fmla="*/ 970 h 7485"/>
                <a:gd name="T10" fmla="*/ 2418 w 4580"/>
                <a:gd name="T11" fmla="*/ 4383 h 7485"/>
                <a:gd name="T12" fmla="*/ 2579 w 4580"/>
                <a:gd name="T13" fmla="*/ 5377 h 7485"/>
                <a:gd name="T14" fmla="*/ 2877 w 4580"/>
                <a:gd name="T15" fmla="*/ 5708 h 7485"/>
                <a:gd name="T16" fmla="*/ 3044 w 4580"/>
                <a:gd name="T17" fmla="*/ 5867 h 7485"/>
                <a:gd name="T18" fmla="*/ 2988 w 4580"/>
                <a:gd name="T19" fmla="*/ 6095 h 7485"/>
                <a:gd name="T20" fmla="*/ 3630 w 4580"/>
                <a:gd name="T21" fmla="*/ 7485 h 7485"/>
                <a:gd name="T22" fmla="*/ 4029 w 4580"/>
                <a:gd name="T23" fmla="*/ 6117 h 7485"/>
                <a:gd name="T24" fmla="*/ 3883 w 4580"/>
                <a:gd name="T25" fmla="*/ 5515 h 7485"/>
                <a:gd name="T26" fmla="*/ 3466 w 4580"/>
                <a:gd name="T27" fmla="*/ 5599 h 7485"/>
                <a:gd name="T28" fmla="*/ 4210 w 4580"/>
                <a:gd name="T29" fmla="*/ 3914 h 7485"/>
                <a:gd name="T30" fmla="*/ 4224 w 4580"/>
                <a:gd name="T31" fmla="*/ 4118 h 7485"/>
                <a:gd name="T32" fmla="*/ 4580 w 4580"/>
                <a:gd name="T33" fmla="*/ 4225 h 7485"/>
                <a:gd name="T34" fmla="*/ 4390 w 4580"/>
                <a:gd name="T35" fmla="*/ 4002 h 7485"/>
                <a:gd name="T36" fmla="*/ 4124 w 4580"/>
                <a:gd name="T37" fmla="*/ 3146 h 7485"/>
                <a:gd name="T38" fmla="*/ 4058 w 4580"/>
                <a:gd name="T39" fmla="*/ 3205 h 7485"/>
                <a:gd name="T40" fmla="*/ 1632 w 4580"/>
                <a:gd name="T41" fmla="*/ 262 h 7485"/>
                <a:gd name="T42" fmla="*/ 1465 w 4580"/>
                <a:gd name="T43" fmla="*/ 7 h 7485"/>
                <a:gd name="T44" fmla="*/ 1471 w 4580"/>
                <a:gd name="T45" fmla="*/ 161 h 7485"/>
                <a:gd name="T46" fmla="*/ 3795 w 4580"/>
                <a:gd name="T47" fmla="*/ 3379 h 7485"/>
                <a:gd name="T48" fmla="*/ 1354 w 4580"/>
                <a:gd name="T49" fmla="*/ 817 h 7485"/>
                <a:gd name="T50" fmla="*/ 1471 w 4580"/>
                <a:gd name="T51" fmla="*/ 161 h 7485"/>
                <a:gd name="T52" fmla="*/ 1201 w 4580"/>
                <a:gd name="T53" fmla="*/ 784 h 7485"/>
                <a:gd name="T54" fmla="*/ 858 w 4580"/>
                <a:gd name="T55" fmla="*/ 691 h 7485"/>
                <a:gd name="T56" fmla="*/ 824 w 4580"/>
                <a:gd name="T57" fmla="*/ 743 h 7485"/>
                <a:gd name="T58" fmla="*/ 443 w 4580"/>
                <a:gd name="T59" fmla="*/ 2761 h 7485"/>
                <a:gd name="T60" fmla="*/ 4066 w 4580"/>
                <a:gd name="T61" fmla="*/ 3250 h 7485"/>
                <a:gd name="T62" fmla="*/ 4111 w 4580"/>
                <a:gd name="T63" fmla="*/ 3686 h 7485"/>
                <a:gd name="T64" fmla="*/ 3900 w 4580"/>
                <a:gd name="T65" fmla="*/ 3360 h 7485"/>
                <a:gd name="T66" fmla="*/ 3820 w 4580"/>
                <a:gd name="T67" fmla="*/ 3414 h 7485"/>
                <a:gd name="T68" fmla="*/ 4054 w 4580"/>
                <a:gd name="T69" fmla="*/ 3706 h 7485"/>
                <a:gd name="T70" fmla="*/ 3939 w 4580"/>
                <a:gd name="T71" fmla="*/ 3824 h 7485"/>
                <a:gd name="T72" fmla="*/ 3783 w 4580"/>
                <a:gd name="T73" fmla="*/ 3756 h 7485"/>
                <a:gd name="T74" fmla="*/ 3490 w 4580"/>
                <a:gd name="T75" fmla="*/ 3977 h 7485"/>
                <a:gd name="T76" fmla="*/ 3820 w 4580"/>
                <a:gd name="T77" fmla="*/ 3414 h 7485"/>
                <a:gd name="T78" fmla="*/ 3492 w 4580"/>
                <a:gd name="T79" fmla="*/ 4245 h 7485"/>
                <a:gd name="T80" fmla="*/ 3132 w 4580"/>
                <a:gd name="T81" fmla="*/ 5354 h 7485"/>
                <a:gd name="T82" fmla="*/ 2740 w 4580"/>
                <a:gd name="T83" fmla="*/ 4484 h 7485"/>
                <a:gd name="T84" fmla="*/ 3491 w 4580"/>
                <a:gd name="T85" fmla="*/ 4038 h 7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80" h="7485">
                  <a:moveTo>
                    <a:pt x="1399" y="0"/>
                  </a:moveTo>
                  <a:lnTo>
                    <a:pt x="1328" y="79"/>
                  </a:lnTo>
                  <a:lnTo>
                    <a:pt x="1328" y="139"/>
                  </a:lnTo>
                  <a:lnTo>
                    <a:pt x="768" y="674"/>
                  </a:lnTo>
                  <a:lnTo>
                    <a:pt x="392" y="2896"/>
                  </a:lnTo>
                  <a:lnTo>
                    <a:pt x="354" y="2994"/>
                  </a:lnTo>
                  <a:lnTo>
                    <a:pt x="0" y="3262"/>
                  </a:lnTo>
                  <a:lnTo>
                    <a:pt x="19" y="3339"/>
                  </a:lnTo>
                  <a:lnTo>
                    <a:pt x="391" y="3133"/>
                  </a:lnTo>
                  <a:lnTo>
                    <a:pt x="1310" y="970"/>
                  </a:lnTo>
                  <a:lnTo>
                    <a:pt x="2135" y="3564"/>
                  </a:lnTo>
                  <a:lnTo>
                    <a:pt x="2418" y="4383"/>
                  </a:lnTo>
                  <a:lnTo>
                    <a:pt x="2821" y="5367"/>
                  </a:lnTo>
                  <a:lnTo>
                    <a:pt x="2579" y="5377"/>
                  </a:lnTo>
                  <a:lnTo>
                    <a:pt x="2601" y="5685"/>
                  </a:lnTo>
                  <a:lnTo>
                    <a:pt x="2877" y="5708"/>
                  </a:lnTo>
                  <a:lnTo>
                    <a:pt x="2922" y="5867"/>
                  </a:lnTo>
                  <a:lnTo>
                    <a:pt x="3044" y="5867"/>
                  </a:lnTo>
                  <a:lnTo>
                    <a:pt x="3044" y="6072"/>
                  </a:lnTo>
                  <a:lnTo>
                    <a:pt x="2988" y="6095"/>
                  </a:lnTo>
                  <a:lnTo>
                    <a:pt x="2977" y="7485"/>
                  </a:lnTo>
                  <a:lnTo>
                    <a:pt x="3630" y="7485"/>
                  </a:lnTo>
                  <a:lnTo>
                    <a:pt x="3550" y="6135"/>
                  </a:lnTo>
                  <a:lnTo>
                    <a:pt x="4029" y="6117"/>
                  </a:lnTo>
                  <a:lnTo>
                    <a:pt x="4029" y="5525"/>
                  </a:lnTo>
                  <a:lnTo>
                    <a:pt x="3883" y="5515"/>
                  </a:lnTo>
                  <a:lnTo>
                    <a:pt x="3865" y="5603"/>
                  </a:lnTo>
                  <a:lnTo>
                    <a:pt x="3466" y="5599"/>
                  </a:lnTo>
                  <a:lnTo>
                    <a:pt x="4120" y="3931"/>
                  </a:lnTo>
                  <a:lnTo>
                    <a:pt x="4210" y="3914"/>
                  </a:lnTo>
                  <a:lnTo>
                    <a:pt x="4273" y="4078"/>
                  </a:lnTo>
                  <a:lnTo>
                    <a:pt x="4224" y="4118"/>
                  </a:lnTo>
                  <a:lnTo>
                    <a:pt x="4292" y="4399"/>
                  </a:lnTo>
                  <a:lnTo>
                    <a:pt x="4580" y="4225"/>
                  </a:lnTo>
                  <a:lnTo>
                    <a:pt x="4494" y="3955"/>
                  </a:lnTo>
                  <a:lnTo>
                    <a:pt x="4390" y="4002"/>
                  </a:lnTo>
                  <a:lnTo>
                    <a:pt x="4324" y="3659"/>
                  </a:lnTo>
                  <a:lnTo>
                    <a:pt x="4124" y="3146"/>
                  </a:lnTo>
                  <a:lnTo>
                    <a:pt x="4051" y="3163"/>
                  </a:lnTo>
                  <a:lnTo>
                    <a:pt x="4058" y="3205"/>
                  </a:lnTo>
                  <a:lnTo>
                    <a:pt x="3875" y="3326"/>
                  </a:lnTo>
                  <a:lnTo>
                    <a:pt x="1632" y="262"/>
                  </a:lnTo>
                  <a:lnTo>
                    <a:pt x="1510" y="119"/>
                  </a:lnTo>
                  <a:lnTo>
                    <a:pt x="1465" y="7"/>
                  </a:lnTo>
                  <a:lnTo>
                    <a:pt x="1399" y="0"/>
                  </a:lnTo>
                  <a:close/>
                  <a:moveTo>
                    <a:pt x="1471" y="161"/>
                  </a:moveTo>
                  <a:lnTo>
                    <a:pt x="1608" y="394"/>
                  </a:lnTo>
                  <a:lnTo>
                    <a:pt x="3795" y="3379"/>
                  </a:lnTo>
                  <a:lnTo>
                    <a:pt x="2617" y="4158"/>
                  </a:lnTo>
                  <a:lnTo>
                    <a:pt x="1354" y="817"/>
                  </a:lnTo>
                  <a:lnTo>
                    <a:pt x="1437" y="230"/>
                  </a:lnTo>
                  <a:lnTo>
                    <a:pt x="1471" y="161"/>
                  </a:lnTo>
                  <a:close/>
                  <a:moveTo>
                    <a:pt x="1311" y="233"/>
                  </a:moveTo>
                  <a:lnTo>
                    <a:pt x="1201" y="784"/>
                  </a:lnTo>
                  <a:lnTo>
                    <a:pt x="1195" y="796"/>
                  </a:lnTo>
                  <a:lnTo>
                    <a:pt x="858" y="691"/>
                  </a:lnTo>
                  <a:lnTo>
                    <a:pt x="1311" y="233"/>
                  </a:lnTo>
                  <a:close/>
                  <a:moveTo>
                    <a:pt x="824" y="743"/>
                  </a:moveTo>
                  <a:lnTo>
                    <a:pt x="1175" y="853"/>
                  </a:lnTo>
                  <a:lnTo>
                    <a:pt x="443" y="2761"/>
                  </a:lnTo>
                  <a:lnTo>
                    <a:pt x="824" y="743"/>
                  </a:lnTo>
                  <a:close/>
                  <a:moveTo>
                    <a:pt x="4066" y="3250"/>
                  </a:moveTo>
                  <a:lnTo>
                    <a:pt x="4139" y="3677"/>
                  </a:lnTo>
                  <a:lnTo>
                    <a:pt x="4111" y="3686"/>
                  </a:lnTo>
                  <a:lnTo>
                    <a:pt x="3953" y="3433"/>
                  </a:lnTo>
                  <a:lnTo>
                    <a:pt x="3900" y="3360"/>
                  </a:lnTo>
                  <a:lnTo>
                    <a:pt x="4066" y="3250"/>
                  </a:lnTo>
                  <a:close/>
                  <a:moveTo>
                    <a:pt x="3820" y="3414"/>
                  </a:moveTo>
                  <a:lnTo>
                    <a:pt x="3877" y="3492"/>
                  </a:lnTo>
                  <a:lnTo>
                    <a:pt x="4054" y="3706"/>
                  </a:lnTo>
                  <a:lnTo>
                    <a:pt x="3975" y="3733"/>
                  </a:lnTo>
                  <a:lnTo>
                    <a:pt x="3939" y="3824"/>
                  </a:lnTo>
                  <a:lnTo>
                    <a:pt x="3795" y="3832"/>
                  </a:lnTo>
                  <a:lnTo>
                    <a:pt x="3783" y="3756"/>
                  </a:lnTo>
                  <a:lnTo>
                    <a:pt x="3489" y="3786"/>
                  </a:lnTo>
                  <a:lnTo>
                    <a:pt x="3490" y="3977"/>
                  </a:lnTo>
                  <a:lnTo>
                    <a:pt x="2735" y="4138"/>
                  </a:lnTo>
                  <a:lnTo>
                    <a:pt x="3820" y="3414"/>
                  </a:lnTo>
                  <a:close/>
                  <a:moveTo>
                    <a:pt x="3491" y="4038"/>
                  </a:moveTo>
                  <a:lnTo>
                    <a:pt x="3492" y="4245"/>
                  </a:lnTo>
                  <a:lnTo>
                    <a:pt x="3712" y="4256"/>
                  </a:lnTo>
                  <a:lnTo>
                    <a:pt x="3132" y="5354"/>
                  </a:lnTo>
                  <a:lnTo>
                    <a:pt x="2985" y="5360"/>
                  </a:lnTo>
                  <a:lnTo>
                    <a:pt x="2740" y="4484"/>
                  </a:lnTo>
                  <a:lnTo>
                    <a:pt x="2639" y="4217"/>
                  </a:lnTo>
                  <a:lnTo>
                    <a:pt x="3491" y="4038"/>
                  </a:lnTo>
                  <a:close/>
                </a:path>
              </a:pathLst>
            </a:custGeom>
            <a:grpFill/>
            <a:ln w="1588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66" name="Power_Lin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AF15B5D-394D-4AC6-9EBD-1CA387971ADA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8223404" y="3360003"/>
            <a:ext cx="332525" cy="407194"/>
            <a:chOff x="8" y="8"/>
            <a:chExt cx="334" cy="409"/>
          </a:xfrm>
          <a:solidFill>
            <a:schemeClr val="accent1"/>
          </a:solidFill>
        </p:grpSpPr>
        <p:sp>
          <p:nvSpPr>
            <p:cNvPr id="67" name="Power_Lines">
              <a:extLst>
                <a:ext uri="{FF2B5EF4-FFF2-40B4-BE49-F238E27FC236}">
                  <a16:creationId xmlns:a16="http://schemas.microsoft.com/office/drawing/2014/main" id="{2062F09F-87BD-4371-8758-C10FFD4CF8C9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8" y="64"/>
              <a:ext cx="141" cy="81"/>
            </a:xfrm>
            <a:custGeom>
              <a:avLst/>
              <a:gdLst>
                <a:gd name="T0" fmla="*/ 41 w 83"/>
                <a:gd name="T1" fmla="*/ 0 h 48"/>
                <a:gd name="T2" fmla="*/ 19 w 83"/>
                <a:gd name="T3" fmla="*/ 27 h 48"/>
                <a:gd name="T4" fmla="*/ 0 w 83"/>
                <a:gd name="T5" fmla="*/ 35 h 48"/>
                <a:gd name="T6" fmla="*/ 0 w 83"/>
                <a:gd name="T7" fmla="*/ 41 h 48"/>
                <a:gd name="T8" fmla="*/ 22 w 83"/>
                <a:gd name="T9" fmla="*/ 33 h 48"/>
                <a:gd name="T10" fmla="*/ 43 w 83"/>
                <a:gd name="T11" fmla="*/ 14 h 48"/>
                <a:gd name="T12" fmla="*/ 56 w 83"/>
                <a:gd name="T13" fmla="*/ 31 h 48"/>
                <a:gd name="T14" fmla="*/ 83 w 83"/>
                <a:gd name="T15" fmla="*/ 48 h 48"/>
                <a:gd name="T16" fmla="*/ 83 w 83"/>
                <a:gd name="T17" fmla="*/ 41 h 48"/>
                <a:gd name="T18" fmla="*/ 60 w 83"/>
                <a:gd name="T19" fmla="*/ 26 h 48"/>
                <a:gd name="T20" fmla="*/ 47 w 83"/>
                <a:gd name="T21" fmla="*/ 0 h 48"/>
                <a:gd name="T22" fmla="*/ 41 w 83"/>
                <a:gd name="T2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48">
                  <a:moveTo>
                    <a:pt x="41" y="0"/>
                  </a:moveTo>
                  <a:cubicBezTo>
                    <a:pt x="41" y="13"/>
                    <a:pt x="29" y="22"/>
                    <a:pt x="19" y="27"/>
                  </a:cubicBezTo>
                  <a:cubicBezTo>
                    <a:pt x="13" y="30"/>
                    <a:pt x="7" y="33"/>
                    <a:pt x="0" y="35"/>
                  </a:cubicBezTo>
                  <a:lnTo>
                    <a:pt x="0" y="41"/>
                  </a:lnTo>
                  <a:cubicBezTo>
                    <a:pt x="8" y="39"/>
                    <a:pt x="15" y="36"/>
                    <a:pt x="22" y="33"/>
                  </a:cubicBezTo>
                  <a:cubicBezTo>
                    <a:pt x="30" y="28"/>
                    <a:pt x="39" y="22"/>
                    <a:pt x="43" y="14"/>
                  </a:cubicBezTo>
                  <a:cubicBezTo>
                    <a:pt x="46" y="20"/>
                    <a:pt x="51" y="26"/>
                    <a:pt x="56" y="31"/>
                  </a:cubicBezTo>
                  <a:cubicBezTo>
                    <a:pt x="64" y="38"/>
                    <a:pt x="74" y="44"/>
                    <a:pt x="83" y="48"/>
                  </a:cubicBezTo>
                  <a:lnTo>
                    <a:pt x="83" y="41"/>
                  </a:lnTo>
                  <a:cubicBezTo>
                    <a:pt x="75" y="37"/>
                    <a:pt x="67" y="32"/>
                    <a:pt x="60" y="26"/>
                  </a:cubicBezTo>
                  <a:cubicBezTo>
                    <a:pt x="53" y="19"/>
                    <a:pt x="47" y="11"/>
                    <a:pt x="47" y="0"/>
                  </a:cubicBezTo>
                  <a:lnTo>
                    <a:pt x="41" y="0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Power_Lines">
              <a:extLst>
                <a:ext uri="{FF2B5EF4-FFF2-40B4-BE49-F238E27FC236}">
                  <a16:creationId xmlns:a16="http://schemas.microsoft.com/office/drawing/2014/main" id="{F13DE920-08C7-4A97-9832-4219B5A8C6B3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8" y="64"/>
              <a:ext cx="334" cy="353"/>
            </a:xfrm>
            <a:custGeom>
              <a:avLst/>
              <a:gdLst>
                <a:gd name="T0" fmla="*/ 0 w 197"/>
                <a:gd name="T1" fmla="*/ 68 h 208"/>
                <a:gd name="T2" fmla="*/ 41 w 197"/>
                <a:gd name="T3" fmla="*/ 64 h 208"/>
                <a:gd name="T4" fmla="*/ 90 w 197"/>
                <a:gd name="T5" fmla="*/ 52 h 208"/>
                <a:gd name="T6" fmla="*/ 90 w 197"/>
                <a:gd name="T7" fmla="*/ 18 h 208"/>
                <a:gd name="T8" fmla="*/ 66 w 197"/>
                <a:gd name="T9" fmla="*/ 0 h 208"/>
                <a:gd name="T10" fmla="*/ 133 w 197"/>
                <a:gd name="T11" fmla="*/ 0 h 208"/>
                <a:gd name="T12" fmla="*/ 109 w 197"/>
                <a:gd name="T13" fmla="*/ 18 h 208"/>
                <a:gd name="T14" fmla="*/ 109 w 197"/>
                <a:gd name="T15" fmla="*/ 44 h 208"/>
                <a:gd name="T16" fmla="*/ 138 w 197"/>
                <a:gd name="T17" fmla="*/ 26 h 208"/>
                <a:gd name="T18" fmla="*/ 152 w 197"/>
                <a:gd name="T19" fmla="*/ 0 h 208"/>
                <a:gd name="T20" fmla="*/ 158 w 197"/>
                <a:gd name="T21" fmla="*/ 0 h 208"/>
                <a:gd name="T22" fmla="*/ 179 w 197"/>
                <a:gd name="T23" fmla="*/ 27 h 208"/>
                <a:gd name="T24" fmla="*/ 197 w 197"/>
                <a:gd name="T25" fmla="*/ 34 h 208"/>
                <a:gd name="T26" fmla="*/ 197 w 197"/>
                <a:gd name="T27" fmla="*/ 41 h 208"/>
                <a:gd name="T28" fmla="*/ 176 w 197"/>
                <a:gd name="T29" fmla="*/ 33 h 208"/>
                <a:gd name="T30" fmla="*/ 155 w 197"/>
                <a:gd name="T31" fmla="*/ 14 h 208"/>
                <a:gd name="T32" fmla="*/ 142 w 197"/>
                <a:gd name="T33" fmla="*/ 31 h 208"/>
                <a:gd name="T34" fmla="*/ 109 w 197"/>
                <a:gd name="T35" fmla="*/ 51 h 208"/>
                <a:gd name="T36" fmla="*/ 109 w 197"/>
                <a:gd name="T37" fmla="*/ 208 h 208"/>
                <a:gd name="T38" fmla="*/ 90 w 197"/>
                <a:gd name="T39" fmla="*/ 208 h 208"/>
                <a:gd name="T40" fmla="*/ 90 w 197"/>
                <a:gd name="T41" fmla="*/ 59 h 208"/>
                <a:gd name="T42" fmla="*/ 42 w 197"/>
                <a:gd name="T43" fmla="*/ 70 h 208"/>
                <a:gd name="T44" fmla="*/ 0 w 197"/>
                <a:gd name="T45" fmla="*/ 75 h 208"/>
                <a:gd name="T46" fmla="*/ 0 w 197"/>
                <a:gd name="T47" fmla="*/ 6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7" h="208">
                  <a:moveTo>
                    <a:pt x="0" y="68"/>
                  </a:moveTo>
                  <a:cubicBezTo>
                    <a:pt x="14" y="67"/>
                    <a:pt x="28" y="66"/>
                    <a:pt x="41" y="64"/>
                  </a:cubicBezTo>
                  <a:cubicBezTo>
                    <a:pt x="58" y="61"/>
                    <a:pt x="74" y="57"/>
                    <a:pt x="90" y="52"/>
                  </a:cubicBezTo>
                  <a:lnTo>
                    <a:pt x="90" y="18"/>
                  </a:lnTo>
                  <a:lnTo>
                    <a:pt x="66" y="0"/>
                  </a:lnTo>
                  <a:lnTo>
                    <a:pt x="133" y="0"/>
                  </a:lnTo>
                  <a:lnTo>
                    <a:pt x="109" y="18"/>
                  </a:lnTo>
                  <a:lnTo>
                    <a:pt x="109" y="44"/>
                  </a:lnTo>
                  <a:cubicBezTo>
                    <a:pt x="119" y="40"/>
                    <a:pt x="130" y="34"/>
                    <a:pt x="138" y="26"/>
                  </a:cubicBezTo>
                  <a:cubicBezTo>
                    <a:pt x="145" y="19"/>
                    <a:pt x="152" y="11"/>
                    <a:pt x="152" y="0"/>
                  </a:cubicBezTo>
                  <a:lnTo>
                    <a:pt x="158" y="0"/>
                  </a:lnTo>
                  <a:cubicBezTo>
                    <a:pt x="158" y="13"/>
                    <a:pt x="169" y="22"/>
                    <a:pt x="179" y="27"/>
                  </a:cubicBezTo>
                  <a:cubicBezTo>
                    <a:pt x="185" y="30"/>
                    <a:pt x="191" y="32"/>
                    <a:pt x="197" y="34"/>
                  </a:cubicBezTo>
                  <a:lnTo>
                    <a:pt x="197" y="41"/>
                  </a:lnTo>
                  <a:cubicBezTo>
                    <a:pt x="190" y="39"/>
                    <a:pt x="183" y="36"/>
                    <a:pt x="176" y="33"/>
                  </a:cubicBezTo>
                  <a:cubicBezTo>
                    <a:pt x="168" y="28"/>
                    <a:pt x="160" y="22"/>
                    <a:pt x="155" y="14"/>
                  </a:cubicBezTo>
                  <a:cubicBezTo>
                    <a:pt x="152" y="20"/>
                    <a:pt x="148" y="26"/>
                    <a:pt x="142" y="31"/>
                  </a:cubicBezTo>
                  <a:cubicBezTo>
                    <a:pt x="133" y="39"/>
                    <a:pt x="121" y="46"/>
                    <a:pt x="109" y="51"/>
                  </a:cubicBezTo>
                  <a:lnTo>
                    <a:pt x="109" y="208"/>
                  </a:lnTo>
                  <a:lnTo>
                    <a:pt x="90" y="208"/>
                  </a:lnTo>
                  <a:lnTo>
                    <a:pt x="90" y="59"/>
                  </a:lnTo>
                  <a:cubicBezTo>
                    <a:pt x="74" y="64"/>
                    <a:pt x="58" y="67"/>
                    <a:pt x="42" y="70"/>
                  </a:cubicBezTo>
                  <a:cubicBezTo>
                    <a:pt x="28" y="72"/>
                    <a:pt x="14" y="74"/>
                    <a:pt x="0" y="75"/>
                  </a:cubicBezTo>
                  <a:lnTo>
                    <a:pt x="0" y="68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Power_Lines">
              <a:extLst>
                <a:ext uri="{FF2B5EF4-FFF2-40B4-BE49-F238E27FC236}">
                  <a16:creationId xmlns:a16="http://schemas.microsoft.com/office/drawing/2014/main" id="{8B9ABE0D-8018-44A8-8475-083387C98B9A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203" y="156"/>
              <a:ext cx="139" cy="35"/>
            </a:xfrm>
            <a:custGeom>
              <a:avLst/>
              <a:gdLst>
                <a:gd name="T0" fmla="*/ 82 w 82"/>
                <a:gd name="T1" fmla="*/ 14 h 21"/>
                <a:gd name="T2" fmla="*/ 42 w 82"/>
                <a:gd name="T3" fmla="*/ 10 h 21"/>
                <a:gd name="T4" fmla="*/ 0 w 82"/>
                <a:gd name="T5" fmla="*/ 0 h 21"/>
                <a:gd name="T6" fmla="*/ 0 w 82"/>
                <a:gd name="T7" fmla="*/ 7 h 21"/>
                <a:gd name="T8" fmla="*/ 41 w 82"/>
                <a:gd name="T9" fmla="*/ 16 h 21"/>
                <a:gd name="T10" fmla="*/ 82 w 82"/>
                <a:gd name="T11" fmla="*/ 21 h 21"/>
                <a:gd name="T12" fmla="*/ 82 w 82"/>
                <a:gd name="T13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1">
                  <a:moveTo>
                    <a:pt x="82" y="14"/>
                  </a:moveTo>
                  <a:cubicBezTo>
                    <a:pt x="68" y="13"/>
                    <a:pt x="55" y="12"/>
                    <a:pt x="42" y="10"/>
                  </a:cubicBezTo>
                  <a:cubicBezTo>
                    <a:pt x="28" y="7"/>
                    <a:pt x="14" y="4"/>
                    <a:pt x="0" y="0"/>
                  </a:cubicBezTo>
                  <a:lnTo>
                    <a:pt x="0" y="7"/>
                  </a:lnTo>
                  <a:cubicBezTo>
                    <a:pt x="14" y="11"/>
                    <a:pt x="27" y="14"/>
                    <a:pt x="41" y="16"/>
                  </a:cubicBezTo>
                  <a:cubicBezTo>
                    <a:pt x="54" y="18"/>
                    <a:pt x="68" y="20"/>
                    <a:pt x="82" y="21"/>
                  </a:cubicBezTo>
                  <a:lnTo>
                    <a:pt x="82" y="14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Power_Lines">
              <a:extLst>
                <a:ext uri="{FF2B5EF4-FFF2-40B4-BE49-F238E27FC236}">
                  <a16:creationId xmlns:a16="http://schemas.microsoft.com/office/drawing/2014/main" id="{0467FDEE-3775-4360-9D06-FFD9780968FB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42" y="8"/>
              <a:ext cx="270" cy="46"/>
            </a:xfrm>
            <a:custGeom>
              <a:avLst/>
              <a:gdLst>
                <a:gd name="T0" fmla="*/ 6 w 159"/>
                <a:gd name="T1" fmla="*/ 0 h 27"/>
                <a:gd name="T2" fmla="*/ 19 w 159"/>
                <a:gd name="T3" fmla="*/ 0 h 27"/>
                <a:gd name="T4" fmla="*/ 19 w 159"/>
                <a:gd name="T5" fmla="*/ 13 h 27"/>
                <a:gd name="T6" fmla="*/ 29 w 159"/>
                <a:gd name="T7" fmla="*/ 13 h 27"/>
                <a:gd name="T8" fmla="*/ 29 w 159"/>
                <a:gd name="T9" fmla="*/ 0 h 27"/>
                <a:gd name="T10" fmla="*/ 41 w 159"/>
                <a:gd name="T11" fmla="*/ 0 h 27"/>
                <a:gd name="T12" fmla="*/ 41 w 159"/>
                <a:gd name="T13" fmla="*/ 13 h 27"/>
                <a:gd name="T14" fmla="*/ 117 w 159"/>
                <a:gd name="T15" fmla="*/ 13 h 27"/>
                <a:gd name="T16" fmla="*/ 117 w 159"/>
                <a:gd name="T17" fmla="*/ 0 h 27"/>
                <a:gd name="T18" fmla="*/ 130 w 159"/>
                <a:gd name="T19" fmla="*/ 0 h 27"/>
                <a:gd name="T20" fmla="*/ 130 w 159"/>
                <a:gd name="T21" fmla="*/ 13 h 27"/>
                <a:gd name="T22" fmla="*/ 139 w 159"/>
                <a:gd name="T23" fmla="*/ 13 h 27"/>
                <a:gd name="T24" fmla="*/ 139 w 159"/>
                <a:gd name="T25" fmla="*/ 0 h 27"/>
                <a:gd name="T26" fmla="*/ 152 w 159"/>
                <a:gd name="T27" fmla="*/ 0 h 27"/>
                <a:gd name="T28" fmla="*/ 152 w 159"/>
                <a:gd name="T29" fmla="*/ 13 h 27"/>
                <a:gd name="T30" fmla="*/ 159 w 159"/>
                <a:gd name="T31" fmla="*/ 13 h 27"/>
                <a:gd name="T32" fmla="*/ 159 w 159"/>
                <a:gd name="T33" fmla="*/ 27 h 27"/>
                <a:gd name="T34" fmla="*/ 0 w 159"/>
                <a:gd name="T35" fmla="*/ 27 h 27"/>
                <a:gd name="T36" fmla="*/ 0 w 159"/>
                <a:gd name="T37" fmla="*/ 13 h 27"/>
                <a:gd name="T38" fmla="*/ 6 w 159"/>
                <a:gd name="T39" fmla="*/ 13 h 27"/>
                <a:gd name="T40" fmla="*/ 6 w 159"/>
                <a:gd name="T4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9" h="27">
                  <a:moveTo>
                    <a:pt x="6" y="0"/>
                  </a:moveTo>
                  <a:lnTo>
                    <a:pt x="19" y="0"/>
                  </a:lnTo>
                  <a:lnTo>
                    <a:pt x="19" y="13"/>
                  </a:lnTo>
                  <a:lnTo>
                    <a:pt x="29" y="13"/>
                  </a:lnTo>
                  <a:lnTo>
                    <a:pt x="29" y="0"/>
                  </a:lnTo>
                  <a:lnTo>
                    <a:pt x="41" y="0"/>
                  </a:lnTo>
                  <a:lnTo>
                    <a:pt x="41" y="13"/>
                  </a:lnTo>
                  <a:lnTo>
                    <a:pt x="117" y="13"/>
                  </a:lnTo>
                  <a:lnTo>
                    <a:pt x="117" y="0"/>
                  </a:lnTo>
                  <a:lnTo>
                    <a:pt x="130" y="0"/>
                  </a:lnTo>
                  <a:lnTo>
                    <a:pt x="130" y="13"/>
                  </a:lnTo>
                  <a:lnTo>
                    <a:pt x="139" y="13"/>
                  </a:lnTo>
                  <a:lnTo>
                    <a:pt x="139" y="0"/>
                  </a:lnTo>
                  <a:lnTo>
                    <a:pt x="152" y="0"/>
                  </a:lnTo>
                  <a:lnTo>
                    <a:pt x="152" y="13"/>
                  </a:lnTo>
                  <a:lnTo>
                    <a:pt x="159" y="13"/>
                  </a:lnTo>
                  <a:lnTo>
                    <a:pt x="159" y="27"/>
                  </a:lnTo>
                  <a:lnTo>
                    <a:pt x="0" y="27"/>
                  </a:lnTo>
                  <a:lnTo>
                    <a:pt x="0" y="13"/>
                  </a:lnTo>
                  <a:lnTo>
                    <a:pt x="6" y="1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71" name="Protest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85D1489-1759-4FC6-80A5-BDFDC6F0FF74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3899739" y="3250160"/>
            <a:ext cx="841126" cy="407194"/>
            <a:chOff x="391" y="973"/>
            <a:chExt cx="6732" cy="3259"/>
          </a:xfrm>
          <a:solidFill>
            <a:schemeClr val="accent1"/>
          </a:solidFill>
        </p:grpSpPr>
        <p:sp>
          <p:nvSpPr>
            <p:cNvPr id="72" name="Freeform 189">
              <a:extLst>
                <a:ext uri="{FF2B5EF4-FFF2-40B4-BE49-F238E27FC236}">
                  <a16:creationId xmlns:a16="http://schemas.microsoft.com/office/drawing/2014/main" id="{4FC8B17C-DC14-462E-9F3D-901D83F1BA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" y="2158"/>
              <a:ext cx="6384" cy="2029"/>
            </a:xfrm>
            <a:custGeom>
              <a:avLst/>
              <a:gdLst>
                <a:gd name="T0" fmla="*/ 11343 w 23366"/>
                <a:gd name="T1" fmla="*/ 6486 h 7413"/>
                <a:gd name="T2" fmla="*/ 10739 w 23366"/>
                <a:gd name="T3" fmla="*/ 2740 h 7413"/>
                <a:gd name="T4" fmla="*/ 11034 w 23366"/>
                <a:gd name="T5" fmla="*/ 2518 h 7413"/>
                <a:gd name="T6" fmla="*/ 11953 w 23366"/>
                <a:gd name="T7" fmla="*/ 812 h 7413"/>
                <a:gd name="T8" fmla="*/ 12253 w 23366"/>
                <a:gd name="T9" fmla="*/ 4302 h 7413"/>
                <a:gd name="T10" fmla="*/ 12880 w 23366"/>
                <a:gd name="T11" fmla="*/ 1120 h 7413"/>
                <a:gd name="T12" fmla="*/ 13330 w 23366"/>
                <a:gd name="T13" fmla="*/ 1285 h 7413"/>
                <a:gd name="T14" fmla="*/ 14977 w 23366"/>
                <a:gd name="T15" fmla="*/ 1055 h 7413"/>
                <a:gd name="T16" fmla="*/ 15402 w 23366"/>
                <a:gd name="T17" fmla="*/ 4357 h 7413"/>
                <a:gd name="T18" fmla="*/ 15260 w 23366"/>
                <a:gd name="T19" fmla="*/ 7124 h 7413"/>
                <a:gd name="T20" fmla="*/ 14699 w 23366"/>
                <a:gd name="T21" fmla="*/ 5542 h 7413"/>
                <a:gd name="T22" fmla="*/ 13696 w 23366"/>
                <a:gd name="T23" fmla="*/ 6789 h 7413"/>
                <a:gd name="T24" fmla="*/ 13889 w 23366"/>
                <a:gd name="T25" fmla="*/ 3591 h 7413"/>
                <a:gd name="T26" fmla="*/ 13344 w 23366"/>
                <a:gd name="T27" fmla="*/ 5433 h 7413"/>
                <a:gd name="T28" fmla="*/ 12866 w 23366"/>
                <a:gd name="T29" fmla="*/ 6230 h 7413"/>
                <a:gd name="T30" fmla="*/ 11965 w 23366"/>
                <a:gd name="T31" fmla="*/ 4455 h 7413"/>
                <a:gd name="T32" fmla="*/ 13681 w 23366"/>
                <a:gd name="T33" fmla="*/ 2503 h 7413"/>
                <a:gd name="T34" fmla="*/ 1445 w 23366"/>
                <a:gd name="T35" fmla="*/ 4899 h 7413"/>
                <a:gd name="T36" fmla="*/ 828 w 23366"/>
                <a:gd name="T37" fmla="*/ 7016 h 7413"/>
                <a:gd name="T38" fmla="*/ 488 w 23366"/>
                <a:gd name="T39" fmla="*/ 3312 h 7413"/>
                <a:gd name="T40" fmla="*/ 1094 w 23366"/>
                <a:gd name="T41" fmla="*/ 1081 h 7413"/>
                <a:gd name="T42" fmla="*/ 2072 w 23366"/>
                <a:gd name="T43" fmla="*/ 1248 h 7413"/>
                <a:gd name="T44" fmla="*/ 2491 w 23366"/>
                <a:gd name="T45" fmla="*/ 4548 h 7413"/>
                <a:gd name="T46" fmla="*/ 2226 w 23366"/>
                <a:gd name="T47" fmla="*/ 3366 h 7413"/>
                <a:gd name="T48" fmla="*/ 690 w 23366"/>
                <a:gd name="T49" fmla="*/ 2451 h 7413"/>
                <a:gd name="T50" fmla="*/ 6966 w 23366"/>
                <a:gd name="T51" fmla="*/ 6923 h 7413"/>
                <a:gd name="T52" fmla="*/ 7063 w 23366"/>
                <a:gd name="T53" fmla="*/ 3537 h 7413"/>
                <a:gd name="T54" fmla="*/ 6747 w 23366"/>
                <a:gd name="T55" fmla="*/ 5087 h 7413"/>
                <a:gd name="T56" fmla="*/ 5869 w 23366"/>
                <a:gd name="T57" fmla="*/ 6369 h 7413"/>
                <a:gd name="T58" fmla="*/ 5509 w 23366"/>
                <a:gd name="T59" fmla="*/ 2716 h 7413"/>
                <a:gd name="T60" fmla="*/ 5809 w 23366"/>
                <a:gd name="T61" fmla="*/ 319 h 7413"/>
                <a:gd name="T62" fmla="*/ 7065 w 23366"/>
                <a:gd name="T63" fmla="*/ 1971 h 7413"/>
                <a:gd name="T64" fmla="*/ 8086 w 23366"/>
                <a:gd name="T65" fmla="*/ 1374 h 7413"/>
                <a:gd name="T66" fmla="*/ 8733 w 23366"/>
                <a:gd name="T67" fmla="*/ 4055 h 7413"/>
                <a:gd name="T68" fmla="*/ 8999 w 23366"/>
                <a:gd name="T69" fmla="*/ 6934 h 7413"/>
                <a:gd name="T70" fmla="*/ 8452 w 23366"/>
                <a:gd name="T71" fmla="*/ 6560 h 7413"/>
                <a:gd name="T72" fmla="*/ 6712 w 23366"/>
                <a:gd name="T73" fmla="*/ 2571 h 7413"/>
                <a:gd name="T74" fmla="*/ 19603 w 23366"/>
                <a:gd name="T75" fmla="*/ 5715 h 7413"/>
                <a:gd name="T76" fmla="*/ 18447 w 23366"/>
                <a:gd name="T77" fmla="*/ 6817 h 7413"/>
                <a:gd name="T78" fmla="*/ 16973 w 23366"/>
                <a:gd name="T79" fmla="*/ 7000 h 7413"/>
                <a:gd name="T80" fmla="*/ 16763 w 23366"/>
                <a:gd name="T81" fmla="*/ 4333 h 7413"/>
                <a:gd name="T82" fmla="*/ 16455 w 23366"/>
                <a:gd name="T83" fmla="*/ 3121 h 7413"/>
                <a:gd name="T84" fmla="*/ 17401 w 23366"/>
                <a:gd name="T85" fmla="*/ 1735 h 7413"/>
                <a:gd name="T86" fmla="*/ 17933 w 23366"/>
                <a:gd name="T87" fmla="*/ 1231 h 7413"/>
                <a:gd name="T88" fmla="*/ 19066 w 23366"/>
                <a:gd name="T89" fmla="*/ 1176 h 7413"/>
                <a:gd name="T90" fmla="*/ 19778 w 23366"/>
                <a:gd name="T91" fmla="*/ 1292 h 7413"/>
                <a:gd name="T92" fmla="*/ 20871 w 23366"/>
                <a:gd name="T93" fmla="*/ 647 h 7413"/>
                <a:gd name="T94" fmla="*/ 21735 w 23366"/>
                <a:gd name="T95" fmla="*/ 1249 h 7413"/>
                <a:gd name="T96" fmla="*/ 23098 w 23366"/>
                <a:gd name="T97" fmla="*/ 3119 h 7413"/>
                <a:gd name="T98" fmla="*/ 23340 w 23366"/>
                <a:gd name="T99" fmla="*/ 6591 h 7413"/>
                <a:gd name="T100" fmla="*/ 22763 w 23366"/>
                <a:gd name="T101" fmla="*/ 6481 h 7413"/>
                <a:gd name="T102" fmla="*/ 21322 w 23366"/>
                <a:gd name="T103" fmla="*/ 7101 h 7413"/>
                <a:gd name="T104" fmla="*/ 21472 w 23366"/>
                <a:gd name="T105" fmla="*/ 3746 h 7413"/>
                <a:gd name="T106" fmla="*/ 21123 w 23366"/>
                <a:gd name="T107" fmla="*/ 5381 h 7413"/>
                <a:gd name="T108" fmla="*/ 20277 w 23366"/>
                <a:gd name="T109" fmla="*/ 7257 h 7413"/>
                <a:gd name="T110" fmla="*/ 18903 w 23366"/>
                <a:gd name="T111" fmla="*/ 6228 h 7413"/>
                <a:gd name="T112" fmla="*/ 18212 w 23366"/>
                <a:gd name="T113" fmla="*/ 3919 h 7413"/>
                <a:gd name="T114" fmla="*/ 19584 w 23366"/>
                <a:gd name="T115" fmla="*/ 4099 h 7413"/>
                <a:gd name="T116" fmla="*/ 19921 w 23366"/>
                <a:gd name="T117" fmla="*/ 2708 h 7413"/>
                <a:gd name="T118" fmla="*/ 18253 w 23366"/>
                <a:gd name="T119" fmla="*/ 3224 h 7413"/>
                <a:gd name="T120" fmla="*/ 21081 w 23366"/>
                <a:gd name="T121" fmla="*/ 2620 h 7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366" h="7413">
                  <a:moveTo>
                    <a:pt x="11098" y="7399"/>
                  </a:moveTo>
                  <a:cubicBezTo>
                    <a:pt x="11093" y="7394"/>
                    <a:pt x="11088" y="7379"/>
                    <a:pt x="11088" y="7366"/>
                  </a:cubicBezTo>
                  <a:cubicBezTo>
                    <a:pt x="11088" y="7341"/>
                    <a:pt x="11101" y="7334"/>
                    <a:pt x="11278" y="7252"/>
                  </a:cubicBezTo>
                  <a:cubicBezTo>
                    <a:pt x="11424" y="7185"/>
                    <a:pt x="11402" y="7166"/>
                    <a:pt x="11196" y="7179"/>
                  </a:cubicBezTo>
                  <a:cubicBezTo>
                    <a:pt x="10983" y="7193"/>
                    <a:pt x="10896" y="7175"/>
                    <a:pt x="10887" y="7114"/>
                  </a:cubicBezTo>
                  <a:cubicBezTo>
                    <a:pt x="10882" y="7080"/>
                    <a:pt x="10897" y="7066"/>
                    <a:pt x="10959" y="7047"/>
                  </a:cubicBezTo>
                  <a:cubicBezTo>
                    <a:pt x="11147" y="6989"/>
                    <a:pt x="11253" y="6918"/>
                    <a:pt x="11253" y="6848"/>
                  </a:cubicBezTo>
                  <a:cubicBezTo>
                    <a:pt x="11253" y="6814"/>
                    <a:pt x="11281" y="6767"/>
                    <a:pt x="11335" y="6715"/>
                  </a:cubicBezTo>
                  <a:cubicBezTo>
                    <a:pt x="11407" y="6645"/>
                    <a:pt x="11445" y="6554"/>
                    <a:pt x="11402" y="6553"/>
                  </a:cubicBezTo>
                  <a:cubicBezTo>
                    <a:pt x="11393" y="6553"/>
                    <a:pt x="11367" y="6523"/>
                    <a:pt x="11343" y="6486"/>
                  </a:cubicBezTo>
                  <a:cubicBezTo>
                    <a:pt x="11306" y="6431"/>
                    <a:pt x="11295" y="6366"/>
                    <a:pt x="11275" y="6101"/>
                  </a:cubicBezTo>
                  <a:cubicBezTo>
                    <a:pt x="11261" y="5926"/>
                    <a:pt x="11242" y="5720"/>
                    <a:pt x="11231" y="5643"/>
                  </a:cubicBezTo>
                  <a:cubicBezTo>
                    <a:pt x="11220" y="5566"/>
                    <a:pt x="11202" y="5400"/>
                    <a:pt x="11192" y="5273"/>
                  </a:cubicBezTo>
                  <a:cubicBezTo>
                    <a:pt x="11167" y="4976"/>
                    <a:pt x="11108" y="4407"/>
                    <a:pt x="11103" y="4404"/>
                  </a:cubicBezTo>
                  <a:cubicBezTo>
                    <a:pt x="10835" y="4256"/>
                    <a:pt x="10831" y="4247"/>
                    <a:pt x="10873" y="3906"/>
                  </a:cubicBezTo>
                  <a:cubicBezTo>
                    <a:pt x="10890" y="3762"/>
                    <a:pt x="10926" y="3521"/>
                    <a:pt x="10952" y="3371"/>
                  </a:cubicBezTo>
                  <a:cubicBezTo>
                    <a:pt x="10995" y="3118"/>
                    <a:pt x="10996" y="3097"/>
                    <a:pt x="10965" y="3068"/>
                  </a:cubicBezTo>
                  <a:cubicBezTo>
                    <a:pt x="10936" y="3042"/>
                    <a:pt x="10934" y="3020"/>
                    <a:pt x="10951" y="2924"/>
                  </a:cubicBezTo>
                  <a:cubicBezTo>
                    <a:pt x="10976" y="2786"/>
                    <a:pt x="10958" y="2760"/>
                    <a:pt x="10845" y="2767"/>
                  </a:cubicBezTo>
                  <a:cubicBezTo>
                    <a:pt x="10794" y="2770"/>
                    <a:pt x="10756" y="2760"/>
                    <a:pt x="10739" y="2740"/>
                  </a:cubicBezTo>
                  <a:cubicBezTo>
                    <a:pt x="10702" y="2695"/>
                    <a:pt x="10679" y="2701"/>
                    <a:pt x="10656" y="2762"/>
                  </a:cubicBezTo>
                  <a:cubicBezTo>
                    <a:pt x="10638" y="2808"/>
                    <a:pt x="10631" y="2812"/>
                    <a:pt x="10602" y="2788"/>
                  </a:cubicBezTo>
                  <a:cubicBezTo>
                    <a:pt x="10576" y="2766"/>
                    <a:pt x="10571" y="2733"/>
                    <a:pt x="10579" y="2622"/>
                  </a:cubicBezTo>
                  <a:lnTo>
                    <a:pt x="10589" y="2483"/>
                  </a:lnTo>
                  <a:lnTo>
                    <a:pt x="10520" y="2458"/>
                  </a:lnTo>
                  <a:cubicBezTo>
                    <a:pt x="10482" y="2444"/>
                    <a:pt x="10451" y="2421"/>
                    <a:pt x="10451" y="2407"/>
                  </a:cubicBezTo>
                  <a:cubicBezTo>
                    <a:pt x="10451" y="2387"/>
                    <a:pt x="10469" y="2388"/>
                    <a:pt x="10534" y="2411"/>
                  </a:cubicBezTo>
                  <a:cubicBezTo>
                    <a:pt x="10612" y="2438"/>
                    <a:pt x="10622" y="2437"/>
                    <a:pt x="10674" y="2399"/>
                  </a:cubicBezTo>
                  <a:cubicBezTo>
                    <a:pt x="10728" y="2359"/>
                    <a:pt x="10734" y="2359"/>
                    <a:pt x="10834" y="2391"/>
                  </a:cubicBezTo>
                  <a:cubicBezTo>
                    <a:pt x="10901" y="2413"/>
                    <a:pt x="10973" y="2458"/>
                    <a:pt x="11034" y="2518"/>
                  </a:cubicBezTo>
                  <a:cubicBezTo>
                    <a:pt x="11087" y="2569"/>
                    <a:pt x="11133" y="2608"/>
                    <a:pt x="11137" y="2603"/>
                  </a:cubicBezTo>
                  <a:cubicBezTo>
                    <a:pt x="11185" y="2548"/>
                    <a:pt x="11431" y="2002"/>
                    <a:pt x="11460" y="1888"/>
                  </a:cubicBezTo>
                  <a:cubicBezTo>
                    <a:pt x="11482" y="1804"/>
                    <a:pt x="11523" y="1696"/>
                    <a:pt x="11551" y="1647"/>
                  </a:cubicBezTo>
                  <a:cubicBezTo>
                    <a:pt x="11610" y="1547"/>
                    <a:pt x="11615" y="1516"/>
                    <a:pt x="11572" y="1516"/>
                  </a:cubicBezTo>
                  <a:cubicBezTo>
                    <a:pt x="11443" y="1516"/>
                    <a:pt x="11286" y="1327"/>
                    <a:pt x="11229" y="1102"/>
                  </a:cubicBezTo>
                  <a:cubicBezTo>
                    <a:pt x="11196" y="973"/>
                    <a:pt x="11196" y="949"/>
                    <a:pt x="11224" y="814"/>
                  </a:cubicBezTo>
                  <a:cubicBezTo>
                    <a:pt x="11263" y="628"/>
                    <a:pt x="11277" y="601"/>
                    <a:pt x="11376" y="539"/>
                  </a:cubicBezTo>
                  <a:cubicBezTo>
                    <a:pt x="11500" y="461"/>
                    <a:pt x="11604" y="444"/>
                    <a:pt x="11698" y="488"/>
                  </a:cubicBezTo>
                  <a:cubicBezTo>
                    <a:pt x="11809" y="538"/>
                    <a:pt x="11864" y="598"/>
                    <a:pt x="11890" y="694"/>
                  </a:cubicBezTo>
                  <a:cubicBezTo>
                    <a:pt x="11903" y="740"/>
                    <a:pt x="11931" y="793"/>
                    <a:pt x="11953" y="812"/>
                  </a:cubicBezTo>
                  <a:cubicBezTo>
                    <a:pt x="11999" y="851"/>
                    <a:pt x="12005" y="954"/>
                    <a:pt x="11971" y="1090"/>
                  </a:cubicBezTo>
                  <a:cubicBezTo>
                    <a:pt x="11942" y="1207"/>
                    <a:pt x="11981" y="1330"/>
                    <a:pt x="12060" y="1368"/>
                  </a:cubicBezTo>
                  <a:cubicBezTo>
                    <a:pt x="12091" y="1382"/>
                    <a:pt x="12135" y="1431"/>
                    <a:pt x="12158" y="1476"/>
                  </a:cubicBezTo>
                  <a:cubicBezTo>
                    <a:pt x="12181" y="1521"/>
                    <a:pt x="12219" y="1569"/>
                    <a:pt x="12242" y="1583"/>
                  </a:cubicBezTo>
                  <a:cubicBezTo>
                    <a:pt x="12298" y="1616"/>
                    <a:pt x="12373" y="1766"/>
                    <a:pt x="12402" y="1902"/>
                  </a:cubicBezTo>
                  <a:cubicBezTo>
                    <a:pt x="12437" y="2071"/>
                    <a:pt x="12429" y="2346"/>
                    <a:pt x="12382" y="2574"/>
                  </a:cubicBezTo>
                  <a:cubicBezTo>
                    <a:pt x="12358" y="2688"/>
                    <a:pt x="12325" y="2850"/>
                    <a:pt x="12307" y="2934"/>
                  </a:cubicBezTo>
                  <a:cubicBezTo>
                    <a:pt x="12290" y="3019"/>
                    <a:pt x="12253" y="3177"/>
                    <a:pt x="12226" y="3284"/>
                  </a:cubicBezTo>
                  <a:cubicBezTo>
                    <a:pt x="12165" y="3522"/>
                    <a:pt x="12162" y="3814"/>
                    <a:pt x="12216" y="4106"/>
                  </a:cubicBezTo>
                  <a:lnTo>
                    <a:pt x="12253" y="4302"/>
                  </a:lnTo>
                  <a:lnTo>
                    <a:pt x="12277" y="4137"/>
                  </a:lnTo>
                  <a:cubicBezTo>
                    <a:pt x="12290" y="4047"/>
                    <a:pt x="12339" y="3795"/>
                    <a:pt x="12387" y="3577"/>
                  </a:cubicBezTo>
                  <a:lnTo>
                    <a:pt x="12473" y="3181"/>
                  </a:lnTo>
                  <a:lnTo>
                    <a:pt x="12432" y="3124"/>
                  </a:lnTo>
                  <a:cubicBezTo>
                    <a:pt x="12357" y="3023"/>
                    <a:pt x="12358" y="2977"/>
                    <a:pt x="12436" y="2859"/>
                  </a:cubicBezTo>
                  <a:cubicBezTo>
                    <a:pt x="12546" y="2694"/>
                    <a:pt x="12557" y="2592"/>
                    <a:pt x="12506" y="2219"/>
                  </a:cubicBezTo>
                  <a:cubicBezTo>
                    <a:pt x="12463" y="1914"/>
                    <a:pt x="12516" y="1718"/>
                    <a:pt x="12667" y="1620"/>
                  </a:cubicBezTo>
                  <a:cubicBezTo>
                    <a:pt x="12709" y="1593"/>
                    <a:pt x="12779" y="1547"/>
                    <a:pt x="12822" y="1519"/>
                  </a:cubicBezTo>
                  <a:cubicBezTo>
                    <a:pt x="12916" y="1457"/>
                    <a:pt x="12959" y="1380"/>
                    <a:pt x="12959" y="1275"/>
                  </a:cubicBezTo>
                  <a:cubicBezTo>
                    <a:pt x="12959" y="1211"/>
                    <a:pt x="12945" y="1183"/>
                    <a:pt x="12880" y="1120"/>
                  </a:cubicBezTo>
                  <a:cubicBezTo>
                    <a:pt x="12836" y="1077"/>
                    <a:pt x="12789" y="1043"/>
                    <a:pt x="12776" y="1043"/>
                  </a:cubicBezTo>
                  <a:cubicBezTo>
                    <a:pt x="12763" y="1043"/>
                    <a:pt x="12729" y="1020"/>
                    <a:pt x="12701" y="992"/>
                  </a:cubicBezTo>
                  <a:cubicBezTo>
                    <a:pt x="12663" y="954"/>
                    <a:pt x="12653" y="928"/>
                    <a:pt x="12663" y="889"/>
                  </a:cubicBezTo>
                  <a:cubicBezTo>
                    <a:pt x="12670" y="861"/>
                    <a:pt x="12666" y="810"/>
                    <a:pt x="12654" y="776"/>
                  </a:cubicBezTo>
                  <a:cubicBezTo>
                    <a:pt x="12623" y="687"/>
                    <a:pt x="12671" y="517"/>
                    <a:pt x="12746" y="449"/>
                  </a:cubicBezTo>
                  <a:cubicBezTo>
                    <a:pt x="12916" y="294"/>
                    <a:pt x="13028" y="241"/>
                    <a:pt x="13184" y="241"/>
                  </a:cubicBezTo>
                  <a:cubicBezTo>
                    <a:pt x="13285" y="241"/>
                    <a:pt x="13346" y="272"/>
                    <a:pt x="13434" y="368"/>
                  </a:cubicBezTo>
                  <a:cubicBezTo>
                    <a:pt x="13488" y="427"/>
                    <a:pt x="13556" y="665"/>
                    <a:pt x="13556" y="797"/>
                  </a:cubicBezTo>
                  <a:cubicBezTo>
                    <a:pt x="13556" y="893"/>
                    <a:pt x="13481" y="1018"/>
                    <a:pt x="13380" y="1089"/>
                  </a:cubicBezTo>
                  <a:cubicBezTo>
                    <a:pt x="13277" y="1161"/>
                    <a:pt x="13270" y="1188"/>
                    <a:pt x="13330" y="1285"/>
                  </a:cubicBezTo>
                  <a:cubicBezTo>
                    <a:pt x="13374" y="1358"/>
                    <a:pt x="13496" y="1421"/>
                    <a:pt x="13662" y="1457"/>
                  </a:cubicBezTo>
                  <a:cubicBezTo>
                    <a:pt x="13791" y="1484"/>
                    <a:pt x="13853" y="1537"/>
                    <a:pt x="13897" y="1655"/>
                  </a:cubicBezTo>
                  <a:cubicBezTo>
                    <a:pt x="13917" y="1708"/>
                    <a:pt x="13936" y="1756"/>
                    <a:pt x="13939" y="1760"/>
                  </a:cubicBezTo>
                  <a:cubicBezTo>
                    <a:pt x="13945" y="1767"/>
                    <a:pt x="14204" y="1610"/>
                    <a:pt x="14284" y="1551"/>
                  </a:cubicBezTo>
                  <a:cubicBezTo>
                    <a:pt x="14322" y="1523"/>
                    <a:pt x="14321" y="1519"/>
                    <a:pt x="14258" y="1441"/>
                  </a:cubicBezTo>
                  <a:cubicBezTo>
                    <a:pt x="14157" y="1315"/>
                    <a:pt x="14115" y="971"/>
                    <a:pt x="14181" y="814"/>
                  </a:cubicBezTo>
                  <a:cubicBezTo>
                    <a:pt x="14246" y="661"/>
                    <a:pt x="14422" y="549"/>
                    <a:pt x="14599" y="549"/>
                  </a:cubicBezTo>
                  <a:cubicBezTo>
                    <a:pt x="14679" y="549"/>
                    <a:pt x="14712" y="561"/>
                    <a:pt x="14775" y="613"/>
                  </a:cubicBezTo>
                  <a:cubicBezTo>
                    <a:pt x="14867" y="689"/>
                    <a:pt x="14931" y="812"/>
                    <a:pt x="14948" y="946"/>
                  </a:cubicBezTo>
                  <a:cubicBezTo>
                    <a:pt x="14954" y="1000"/>
                    <a:pt x="14968" y="1049"/>
                    <a:pt x="14977" y="1055"/>
                  </a:cubicBezTo>
                  <a:cubicBezTo>
                    <a:pt x="15012" y="1076"/>
                    <a:pt x="14994" y="1169"/>
                    <a:pt x="14933" y="1277"/>
                  </a:cubicBezTo>
                  <a:cubicBezTo>
                    <a:pt x="14877" y="1376"/>
                    <a:pt x="14868" y="1454"/>
                    <a:pt x="14912" y="1454"/>
                  </a:cubicBezTo>
                  <a:cubicBezTo>
                    <a:pt x="14920" y="1454"/>
                    <a:pt x="14949" y="1473"/>
                    <a:pt x="14975" y="1496"/>
                  </a:cubicBezTo>
                  <a:cubicBezTo>
                    <a:pt x="15002" y="1519"/>
                    <a:pt x="15102" y="1590"/>
                    <a:pt x="15197" y="1655"/>
                  </a:cubicBezTo>
                  <a:cubicBezTo>
                    <a:pt x="15293" y="1719"/>
                    <a:pt x="15395" y="1795"/>
                    <a:pt x="15424" y="1825"/>
                  </a:cubicBezTo>
                  <a:cubicBezTo>
                    <a:pt x="15628" y="2029"/>
                    <a:pt x="15746" y="2381"/>
                    <a:pt x="15764" y="2839"/>
                  </a:cubicBezTo>
                  <a:cubicBezTo>
                    <a:pt x="15775" y="3117"/>
                    <a:pt x="15773" y="3123"/>
                    <a:pt x="15605" y="3298"/>
                  </a:cubicBezTo>
                  <a:lnTo>
                    <a:pt x="15502" y="3405"/>
                  </a:lnTo>
                  <a:lnTo>
                    <a:pt x="15486" y="3638"/>
                  </a:lnTo>
                  <a:cubicBezTo>
                    <a:pt x="15461" y="3988"/>
                    <a:pt x="15426" y="4295"/>
                    <a:pt x="15402" y="4357"/>
                  </a:cubicBezTo>
                  <a:cubicBezTo>
                    <a:pt x="15388" y="4395"/>
                    <a:pt x="15354" y="4424"/>
                    <a:pt x="15296" y="4446"/>
                  </a:cubicBezTo>
                  <a:cubicBezTo>
                    <a:pt x="15216" y="4476"/>
                    <a:pt x="15207" y="4488"/>
                    <a:pt x="15164" y="4616"/>
                  </a:cubicBezTo>
                  <a:cubicBezTo>
                    <a:pt x="15097" y="4815"/>
                    <a:pt x="15091" y="4903"/>
                    <a:pt x="15137" y="5001"/>
                  </a:cubicBezTo>
                  <a:cubicBezTo>
                    <a:pt x="15158" y="5046"/>
                    <a:pt x="15226" y="5190"/>
                    <a:pt x="15289" y="5320"/>
                  </a:cubicBezTo>
                  <a:cubicBezTo>
                    <a:pt x="15473" y="5705"/>
                    <a:pt x="15510" y="5791"/>
                    <a:pt x="15601" y="6050"/>
                  </a:cubicBezTo>
                  <a:cubicBezTo>
                    <a:pt x="15650" y="6185"/>
                    <a:pt x="15718" y="6369"/>
                    <a:pt x="15754" y="6459"/>
                  </a:cubicBezTo>
                  <a:cubicBezTo>
                    <a:pt x="15811" y="6600"/>
                    <a:pt x="15816" y="6626"/>
                    <a:pt x="15790" y="6651"/>
                  </a:cubicBezTo>
                  <a:cubicBezTo>
                    <a:pt x="15765" y="6676"/>
                    <a:pt x="15766" y="6697"/>
                    <a:pt x="15800" y="6806"/>
                  </a:cubicBezTo>
                  <a:cubicBezTo>
                    <a:pt x="15822" y="6875"/>
                    <a:pt x="15835" y="6942"/>
                    <a:pt x="15830" y="6955"/>
                  </a:cubicBezTo>
                  <a:cubicBezTo>
                    <a:pt x="15816" y="6992"/>
                    <a:pt x="15409" y="7113"/>
                    <a:pt x="15260" y="7124"/>
                  </a:cubicBezTo>
                  <a:cubicBezTo>
                    <a:pt x="15101" y="7136"/>
                    <a:pt x="15067" y="7110"/>
                    <a:pt x="15150" y="7041"/>
                  </a:cubicBezTo>
                  <a:cubicBezTo>
                    <a:pt x="15268" y="6944"/>
                    <a:pt x="15304" y="6897"/>
                    <a:pt x="15292" y="6857"/>
                  </a:cubicBezTo>
                  <a:cubicBezTo>
                    <a:pt x="15285" y="6836"/>
                    <a:pt x="15295" y="6795"/>
                    <a:pt x="15315" y="6765"/>
                  </a:cubicBezTo>
                  <a:cubicBezTo>
                    <a:pt x="15348" y="6714"/>
                    <a:pt x="15348" y="6710"/>
                    <a:pt x="15308" y="6679"/>
                  </a:cubicBezTo>
                  <a:cubicBezTo>
                    <a:pt x="15260" y="6641"/>
                    <a:pt x="15219" y="6563"/>
                    <a:pt x="15157" y="6396"/>
                  </a:cubicBezTo>
                  <a:cubicBezTo>
                    <a:pt x="15133" y="6330"/>
                    <a:pt x="15105" y="6267"/>
                    <a:pt x="15095" y="6256"/>
                  </a:cubicBezTo>
                  <a:cubicBezTo>
                    <a:pt x="15085" y="6245"/>
                    <a:pt x="15077" y="6222"/>
                    <a:pt x="15077" y="6205"/>
                  </a:cubicBezTo>
                  <a:cubicBezTo>
                    <a:pt x="15077" y="6187"/>
                    <a:pt x="14999" y="6017"/>
                    <a:pt x="14904" y="5826"/>
                  </a:cubicBezTo>
                  <a:lnTo>
                    <a:pt x="14731" y="5480"/>
                  </a:lnTo>
                  <a:lnTo>
                    <a:pt x="14699" y="5542"/>
                  </a:lnTo>
                  <a:cubicBezTo>
                    <a:pt x="14632" y="5672"/>
                    <a:pt x="14485" y="6077"/>
                    <a:pt x="14441" y="6255"/>
                  </a:cubicBezTo>
                  <a:cubicBezTo>
                    <a:pt x="14290" y="6863"/>
                    <a:pt x="14275" y="6913"/>
                    <a:pt x="14223" y="6955"/>
                  </a:cubicBezTo>
                  <a:cubicBezTo>
                    <a:pt x="14185" y="6987"/>
                    <a:pt x="14172" y="7017"/>
                    <a:pt x="14172" y="7078"/>
                  </a:cubicBezTo>
                  <a:cubicBezTo>
                    <a:pt x="14172" y="7185"/>
                    <a:pt x="14157" y="7205"/>
                    <a:pt x="14059" y="7230"/>
                  </a:cubicBezTo>
                  <a:cubicBezTo>
                    <a:pt x="14014" y="7241"/>
                    <a:pt x="13922" y="7265"/>
                    <a:pt x="13854" y="7282"/>
                  </a:cubicBezTo>
                  <a:cubicBezTo>
                    <a:pt x="13739" y="7312"/>
                    <a:pt x="13553" y="7319"/>
                    <a:pt x="13468" y="7298"/>
                  </a:cubicBezTo>
                  <a:cubicBezTo>
                    <a:pt x="13393" y="7279"/>
                    <a:pt x="13436" y="7220"/>
                    <a:pt x="13586" y="7134"/>
                  </a:cubicBezTo>
                  <a:cubicBezTo>
                    <a:pt x="13733" y="7051"/>
                    <a:pt x="13819" y="6965"/>
                    <a:pt x="13756" y="6965"/>
                  </a:cubicBezTo>
                  <a:cubicBezTo>
                    <a:pt x="13740" y="6965"/>
                    <a:pt x="13712" y="6953"/>
                    <a:pt x="13692" y="6938"/>
                  </a:cubicBezTo>
                  <a:cubicBezTo>
                    <a:pt x="13657" y="6913"/>
                    <a:pt x="13657" y="6906"/>
                    <a:pt x="13696" y="6789"/>
                  </a:cubicBezTo>
                  <a:cubicBezTo>
                    <a:pt x="13741" y="6655"/>
                    <a:pt x="13791" y="6457"/>
                    <a:pt x="13822" y="6296"/>
                  </a:cubicBezTo>
                  <a:cubicBezTo>
                    <a:pt x="13833" y="6240"/>
                    <a:pt x="13861" y="6106"/>
                    <a:pt x="13884" y="5998"/>
                  </a:cubicBezTo>
                  <a:cubicBezTo>
                    <a:pt x="13908" y="5891"/>
                    <a:pt x="13936" y="5752"/>
                    <a:pt x="13948" y="5690"/>
                  </a:cubicBezTo>
                  <a:cubicBezTo>
                    <a:pt x="13987" y="5483"/>
                    <a:pt x="14032" y="5312"/>
                    <a:pt x="14121" y="5032"/>
                  </a:cubicBezTo>
                  <a:cubicBezTo>
                    <a:pt x="14169" y="4879"/>
                    <a:pt x="14215" y="4715"/>
                    <a:pt x="14223" y="4667"/>
                  </a:cubicBezTo>
                  <a:lnTo>
                    <a:pt x="14238" y="4579"/>
                  </a:lnTo>
                  <a:lnTo>
                    <a:pt x="14154" y="4579"/>
                  </a:lnTo>
                  <a:cubicBezTo>
                    <a:pt x="14058" y="4579"/>
                    <a:pt x="14059" y="4581"/>
                    <a:pt x="14040" y="4333"/>
                  </a:cubicBezTo>
                  <a:cubicBezTo>
                    <a:pt x="14028" y="4184"/>
                    <a:pt x="13973" y="3628"/>
                    <a:pt x="13969" y="3619"/>
                  </a:cubicBezTo>
                  <a:cubicBezTo>
                    <a:pt x="13968" y="3617"/>
                    <a:pt x="13932" y="3604"/>
                    <a:pt x="13889" y="3591"/>
                  </a:cubicBezTo>
                  <a:cubicBezTo>
                    <a:pt x="13739" y="3546"/>
                    <a:pt x="13718" y="3516"/>
                    <a:pt x="13694" y="3313"/>
                  </a:cubicBezTo>
                  <a:cubicBezTo>
                    <a:pt x="13682" y="3212"/>
                    <a:pt x="13671" y="3127"/>
                    <a:pt x="13669" y="3124"/>
                  </a:cubicBezTo>
                  <a:cubicBezTo>
                    <a:pt x="13666" y="3121"/>
                    <a:pt x="13650" y="3124"/>
                    <a:pt x="13632" y="3131"/>
                  </a:cubicBezTo>
                  <a:cubicBezTo>
                    <a:pt x="13607" y="3140"/>
                    <a:pt x="13604" y="3156"/>
                    <a:pt x="13618" y="3198"/>
                  </a:cubicBezTo>
                  <a:cubicBezTo>
                    <a:pt x="13639" y="3259"/>
                    <a:pt x="13693" y="3711"/>
                    <a:pt x="13721" y="4045"/>
                  </a:cubicBezTo>
                  <a:cubicBezTo>
                    <a:pt x="13730" y="4164"/>
                    <a:pt x="13743" y="4290"/>
                    <a:pt x="13749" y="4324"/>
                  </a:cubicBezTo>
                  <a:cubicBezTo>
                    <a:pt x="13763" y="4402"/>
                    <a:pt x="13804" y="5202"/>
                    <a:pt x="13794" y="5211"/>
                  </a:cubicBezTo>
                  <a:cubicBezTo>
                    <a:pt x="13785" y="5220"/>
                    <a:pt x="13570" y="5272"/>
                    <a:pt x="13453" y="5294"/>
                  </a:cubicBezTo>
                  <a:lnTo>
                    <a:pt x="13360" y="5311"/>
                  </a:lnTo>
                  <a:lnTo>
                    <a:pt x="13344" y="5433"/>
                  </a:lnTo>
                  <a:cubicBezTo>
                    <a:pt x="13323" y="5593"/>
                    <a:pt x="13276" y="5882"/>
                    <a:pt x="13236" y="6101"/>
                  </a:cubicBezTo>
                  <a:cubicBezTo>
                    <a:pt x="13190" y="6354"/>
                    <a:pt x="13208" y="6468"/>
                    <a:pt x="13312" y="6579"/>
                  </a:cubicBezTo>
                  <a:cubicBezTo>
                    <a:pt x="13417" y="6690"/>
                    <a:pt x="13459" y="6770"/>
                    <a:pt x="13441" y="6824"/>
                  </a:cubicBezTo>
                  <a:cubicBezTo>
                    <a:pt x="13429" y="6864"/>
                    <a:pt x="13417" y="6866"/>
                    <a:pt x="13299" y="6855"/>
                  </a:cubicBezTo>
                  <a:lnTo>
                    <a:pt x="13171" y="6843"/>
                  </a:lnTo>
                  <a:lnTo>
                    <a:pt x="13146" y="6925"/>
                  </a:lnTo>
                  <a:cubicBezTo>
                    <a:pt x="13109" y="7049"/>
                    <a:pt x="13011" y="7150"/>
                    <a:pt x="12928" y="7150"/>
                  </a:cubicBezTo>
                  <a:cubicBezTo>
                    <a:pt x="12869" y="7150"/>
                    <a:pt x="12858" y="7141"/>
                    <a:pt x="12846" y="7088"/>
                  </a:cubicBezTo>
                  <a:cubicBezTo>
                    <a:pt x="12832" y="7021"/>
                    <a:pt x="12843" y="6944"/>
                    <a:pt x="12889" y="6804"/>
                  </a:cubicBezTo>
                  <a:cubicBezTo>
                    <a:pt x="12932" y="6675"/>
                    <a:pt x="12925" y="6502"/>
                    <a:pt x="12866" y="6230"/>
                  </a:cubicBezTo>
                  <a:cubicBezTo>
                    <a:pt x="12810" y="5968"/>
                    <a:pt x="12759" y="5664"/>
                    <a:pt x="12741" y="5484"/>
                  </a:cubicBezTo>
                  <a:cubicBezTo>
                    <a:pt x="12735" y="5422"/>
                    <a:pt x="12727" y="5369"/>
                    <a:pt x="12724" y="5365"/>
                  </a:cubicBezTo>
                  <a:cubicBezTo>
                    <a:pt x="12721" y="5362"/>
                    <a:pt x="12638" y="5346"/>
                    <a:pt x="12540" y="5328"/>
                  </a:cubicBezTo>
                  <a:cubicBezTo>
                    <a:pt x="12441" y="5311"/>
                    <a:pt x="12327" y="5286"/>
                    <a:pt x="12285" y="5272"/>
                  </a:cubicBezTo>
                  <a:lnTo>
                    <a:pt x="12209" y="5247"/>
                  </a:lnTo>
                  <a:lnTo>
                    <a:pt x="12209" y="5052"/>
                  </a:lnTo>
                  <a:cubicBezTo>
                    <a:pt x="12209" y="4945"/>
                    <a:pt x="12217" y="4757"/>
                    <a:pt x="12226" y="4636"/>
                  </a:cubicBezTo>
                  <a:lnTo>
                    <a:pt x="12244" y="4414"/>
                  </a:lnTo>
                  <a:lnTo>
                    <a:pt x="12167" y="4427"/>
                  </a:lnTo>
                  <a:cubicBezTo>
                    <a:pt x="12086" y="4439"/>
                    <a:pt x="11994" y="4452"/>
                    <a:pt x="11965" y="4455"/>
                  </a:cubicBezTo>
                  <a:cubicBezTo>
                    <a:pt x="11920" y="4458"/>
                    <a:pt x="11981" y="5224"/>
                    <a:pt x="12052" y="5546"/>
                  </a:cubicBezTo>
                  <a:cubicBezTo>
                    <a:pt x="12089" y="5709"/>
                    <a:pt x="12099" y="6041"/>
                    <a:pt x="12073" y="6193"/>
                  </a:cubicBezTo>
                  <a:cubicBezTo>
                    <a:pt x="12059" y="6273"/>
                    <a:pt x="12045" y="6513"/>
                    <a:pt x="12042" y="6728"/>
                  </a:cubicBezTo>
                  <a:cubicBezTo>
                    <a:pt x="12036" y="7092"/>
                    <a:pt x="12033" y="7121"/>
                    <a:pt x="11994" y="7153"/>
                  </a:cubicBezTo>
                  <a:cubicBezTo>
                    <a:pt x="11966" y="7176"/>
                    <a:pt x="11952" y="7211"/>
                    <a:pt x="11952" y="7260"/>
                  </a:cubicBezTo>
                  <a:cubicBezTo>
                    <a:pt x="11952" y="7350"/>
                    <a:pt x="11923" y="7368"/>
                    <a:pt x="11742" y="7386"/>
                  </a:cubicBezTo>
                  <a:cubicBezTo>
                    <a:pt x="11575" y="7403"/>
                    <a:pt x="11111" y="7413"/>
                    <a:pt x="11098" y="7399"/>
                  </a:cubicBezTo>
                  <a:close/>
                  <a:moveTo>
                    <a:pt x="13714" y="2521"/>
                  </a:moveTo>
                  <a:lnTo>
                    <a:pt x="13719" y="2369"/>
                  </a:lnTo>
                  <a:lnTo>
                    <a:pt x="13681" y="2503"/>
                  </a:lnTo>
                  <a:cubicBezTo>
                    <a:pt x="13660" y="2576"/>
                    <a:pt x="13636" y="2653"/>
                    <a:pt x="13628" y="2672"/>
                  </a:cubicBezTo>
                  <a:cubicBezTo>
                    <a:pt x="13615" y="2703"/>
                    <a:pt x="13620" y="2706"/>
                    <a:pt x="13661" y="2691"/>
                  </a:cubicBezTo>
                  <a:cubicBezTo>
                    <a:pt x="13706" y="2674"/>
                    <a:pt x="13710" y="2660"/>
                    <a:pt x="13714" y="2521"/>
                  </a:cubicBezTo>
                  <a:close/>
                  <a:moveTo>
                    <a:pt x="2092" y="7320"/>
                  </a:moveTo>
                  <a:cubicBezTo>
                    <a:pt x="1944" y="7307"/>
                    <a:pt x="1720" y="7250"/>
                    <a:pt x="1654" y="7210"/>
                  </a:cubicBezTo>
                  <a:cubicBezTo>
                    <a:pt x="1592" y="7173"/>
                    <a:pt x="1589" y="7164"/>
                    <a:pt x="1589" y="7050"/>
                  </a:cubicBezTo>
                  <a:cubicBezTo>
                    <a:pt x="1589" y="6957"/>
                    <a:pt x="1580" y="6922"/>
                    <a:pt x="1552" y="6900"/>
                  </a:cubicBezTo>
                  <a:cubicBezTo>
                    <a:pt x="1517" y="6874"/>
                    <a:pt x="1516" y="6839"/>
                    <a:pt x="1533" y="6348"/>
                  </a:cubicBezTo>
                  <a:cubicBezTo>
                    <a:pt x="1561" y="5557"/>
                    <a:pt x="1554" y="5403"/>
                    <a:pt x="1473" y="5070"/>
                  </a:cubicBezTo>
                  <a:cubicBezTo>
                    <a:pt x="1457" y="5006"/>
                    <a:pt x="1445" y="4929"/>
                    <a:pt x="1445" y="4899"/>
                  </a:cubicBezTo>
                  <a:cubicBezTo>
                    <a:pt x="1445" y="4869"/>
                    <a:pt x="1437" y="4849"/>
                    <a:pt x="1427" y="4855"/>
                  </a:cubicBezTo>
                  <a:cubicBezTo>
                    <a:pt x="1387" y="4880"/>
                    <a:pt x="1314" y="5396"/>
                    <a:pt x="1312" y="5669"/>
                  </a:cubicBezTo>
                  <a:cubicBezTo>
                    <a:pt x="1310" y="5933"/>
                    <a:pt x="1342" y="6804"/>
                    <a:pt x="1356" y="6857"/>
                  </a:cubicBezTo>
                  <a:cubicBezTo>
                    <a:pt x="1363" y="6886"/>
                    <a:pt x="1355" y="6919"/>
                    <a:pt x="1335" y="6940"/>
                  </a:cubicBezTo>
                  <a:cubicBezTo>
                    <a:pt x="1318" y="6959"/>
                    <a:pt x="1300" y="7020"/>
                    <a:pt x="1297" y="7076"/>
                  </a:cubicBezTo>
                  <a:lnTo>
                    <a:pt x="1290" y="7177"/>
                  </a:lnTo>
                  <a:lnTo>
                    <a:pt x="1105" y="7235"/>
                  </a:lnTo>
                  <a:cubicBezTo>
                    <a:pt x="905" y="7299"/>
                    <a:pt x="632" y="7330"/>
                    <a:pt x="581" y="7295"/>
                  </a:cubicBezTo>
                  <a:cubicBezTo>
                    <a:pt x="536" y="7265"/>
                    <a:pt x="575" y="7211"/>
                    <a:pt x="681" y="7156"/>
                  </a:cubicBezTo>
                  <a:cubicBezTo>
                    <a:pt x="802" y="7095"/>
                    <a:pt x="828" y="7070"/>
                    <a:pt x="828" y="7016"/>
                  </a:cubicBezTo>
                  <a:cubicBezTo>
                    <a:pt x="828" y="6990"/>
                    <a:pt x="842" y="6958"/>
                    <a:pt x="859" y="6944"/>
                  </a:cubicBezTo>
                  <a:cubicBezTo>
                    <a:pt x="904" y="6906"/>
                    <a:pt x="896" y="6876"/>
                    <a:pt x="834" y="6841"/>
                  </a:cubicBezTo>
                  <a:cubicBezTo>
                    <a:pt x="780" y="6811"/>
                    <a:pt x="778" y="6802"/>
                    <a:pt x="777" y="6645"/>
                  </a:cubicBezTo>
                  <a:cubicBezTo>
                    <a:pt x="776" y="6555"/>
                    <a:pt x="764" y="6380"/>
                    <a:pt x="750" y="6255"/>
                  </a:cubicBezTo>
                  <a:cubicBezTo>
                    <a:pt x="702" y="5822"/>
                    <a:pt x="690" y="5532"/>
                    <a:pt x="696" y="4893"/>
                  </a:cubicBezTo>
                  <a:lnTo>
                    <a:pt x="702" y="4250"/>
                  </a:lnTo>
                  <a:lnTo>
                    <a:pt x="606" y="4262"/>
                  </a:lnTo>
                  <a:cubicBezTo>
                    <a:pt x="461" y="4279"/>
                    <a:pt x="426" y="4244"/>
                    <a:pt x="430" y="4091"/>
                  </a:cubicBezTo>
                  <a:cubicBezTo>
                    <a:pt x="432" y="4024"/>
                    <a:pt x="458" y="3829"/>
                    <a:pt x="487" y="3657"/>
                  </a:cubicBezTo>
                  <a:cubicBezTo>
                    <a:pt x="540" y="3347"/>
                    <a:pt x="541" y="3292"/>
                    <a:pt x="488" y="3312"/>
                  </a:cubicBezTo>
                  <a:cubicBezTo>
                    <a:pt x="474" y="3318"/>
                    <a:pt x="447" y="3311"/>
                    <a:pt x="430" y="3298"/>
                  </a:cubicBezTo>
                  <a:cubicBezTo>
                    <a:pt x="389" y="3266"/>
                    <a:pt x="192" y="2920"/>
                    <a:pt x="118" y="2749"/>
                  </a:cubicBezTo>
                  <a:cubicBezTo>
                    <a:pt x="86" y="2676"/>
                    <a:pt x="51" y="2604"/>
                    <a:pt x="41" y="2591"/>
                  </a:cubicBezTo>
                  <a:cubicBezTo>
                    <a:pt x="0" y="2537"/>
                    <a:pt x="119" y="2167"/>
                    <a:pt x="305" y="1769"/>
                  </a:cubicBezTo>
                  <a:cubicBezTo>
                    <a:pt x="343" y="1688"/>
                    <a:pt x="388" y="1577"/>
                    <a:pt x="406" y="1522"/>
                  </a:cubicBezTo>
                  <a:cubicBezTo>
                    <a:pt x="425" y="1468"/>
                    <a:pt x="451" y="1408"/>
                    <a:pt x="465" y="1389"/>
                  </a:cubicBezTo>
                  <a:cubicBezTo>
                    <a:pt x="487" y="1360"/>
                    <a:pt x="699" y="1248"/>
                    <a:pt x="733" y="1248"/>
                  </a:cubicBezTo>
                  <a:cubicBezTo>
                    <a:pt x="739" y="1248"/>
                    <a:pt x="795" y="1225"/>
                    <a:pt x="857" y="1197"/>
                  </a:cubicBezTo>
                  <a:cubicBezTo>
                    <a:pt x="919" y="1169"/>
                    <a:pt x="974" y="1145"/>
                    <a:pt x="979" y="1145"/>
                  </a:cubicBezTo>
                  <a:cubicBezTo>
                    <a:pt x="985" y="1145"/>
                    <a:pt x="1036" y="1116"/>
                    <a:pt x="1094" y="1081"/>
                  </a:cubicBezTo>
                  <a:cubicBezTo>
                    <a:pt x="1192" y="1020"/>
                    <a:pt x="1198" y="1011"/>
                    <a:pt x="1198" y="929"/>
                  </a:cubicBezTo>
                  <a:cubicBezTo>
                    <a:pt x="1198" y="864"/>
                    <a:pt x="1183" y="824"/>
                    <a:pt x="1137" y="766"/>
                  </a:cubicBezTo>
                  <a:cubicBezTo>
                    <a:pt x="1051" y="658"/>
                    <a:pt x="1034" y="526"/>
                    <a:pt x="1092" y="417"/>
                  </a:cubicBezTo>
                  <a:cubicBezTo>
                    <a:pt x="1116" y="371"/>
                    <a:pt x="1136" y="322"/>
                    <a:pt x="1136" y="308"/>
                  </a:cubicBezTo>
                  <a:cubicBezTo>
                    <a:pt x="1136" y="259"/>
                    <a:pt x="1223" y="107"/>
                    <a:pt x="1271" y="70"/>
                  </a:cubicBezTo>
                  <a:cubicBezTo>
                    <a:pt x="1347" y="14"/>
                    <a:pt x="1569" y="0"/>
                    <a:pt x="1669" y="44"/>
                  </a:cubicBezTo>
                  <a:cubicBezTo>
                    <a:pt x="1834" y="119"/>
                    <a:pt x="1874" y="234"/>
                    <a:pt x="1855" y="576"/>
                  </a:cubicBezTo>
                  <a:cubicBezTo>
                    <a:pt x="1841" y="805"/>
                    <a:pt x="1837" y="824"/>
                    <a:pt x="1776" y="908"/>
                  </a:cubicBezTo>
                  <a:cubicBezTo>
                    <a:pt x="1700" y="1015"/>
                    <a:pt x="1699" y="1023"/>
                    <a:pt x="1758" y="1078"/>
                  </a:cubicBezTo>
                  <a:cubicBezTo>
                    <a:pt x="1803" y="1120"/>
                    <a:pt x="2040" y="1248"/>
                    <a:pt x="2072" y="1248"/>
                  </a:cubicBezTo>
                  <a:cubicBezTo>
                    <a:pt x="2133" y="1248"/>
                    <a:pt x="2354" y="1382"/>
                    <a:pt x="2434" y="1468"/>
                  </a:cubicBezTo>
                  <a:cubicBezTo>
                    <a:pt x="2522" y="1562"/>
                    <a:pt x="2531" y="1583"/>
                    <a:pt x="2562" y="1753"/>
                  </a:cubicBezTo>
                  <a:cubicBezTo>
                    <a:pt x="2581" y="1854"/>
                    <a:pt x="2610" y="2053"/>
                    <a:pt x="2628" y="2194"/>
                  </a:cubicBezTo>
                  <a:cubicBezTo>
                    <a:pt x="2645" y="2335"/>
                    <a:pt x="2668" y="2507"/>
                    <a:pt x="2679" y="2575"/>
                  </a:cubicBezTo>
                  <a:cubicBezTo>
                    <a:pt x="2699" y="2701"/>
                    <a:pt x="2729" y="3030"/>
                    <a:pt x="2751" y="3356"/>
                  </a:cubicBezTo>
                  <a:cubicBezTo>
                    <a:pt x="2758" y="3458"/>
                    <a:pt x="2772" y="3620"/>
                    <a:pt x="2782" y="3716"/>
                  </a:cubicBezTo>
                  <a:cubicBezTo>
                    <a:pt x="2811" y="3977"/>
                    <a:pt x="2809" y="4006"/>
                    <a:pt x="2759" y="4019"/>
                  </a:cubicBezTo>
                  <a:cubicBezTo>
                    <a:pt x="2719" y="4029"/>
                    <a:pt x="2717" y="4039"/>
                    <a:pt x="2730" y="4169"/>
                  </a:cubicBezTo>
                  <a:cubicBezTo>
                    <a:pt x="2746" y="4327"/>
                    <a:pt x="2718" y="4410"/>
                    <a:pt x="2618" y="4506"/>
                  </a:cubicBezTo>
                  <a:cubicBezTo>
                    <a:pt x="2570" y="4552"/>
                    <a:pt x="2548" y="4559"/>
                    <a:pt x="2491" y="4548"/>
                  </a:cubicBezTo>
                  <a:cubicBezTo>
                    <a:pt x="2453" y="4541"/>
                    <a:pt x="2404" y="4522"/>
                    <a:pt x="2382" y="4507"/>
                  </a:cubicBezTo>
                  <a:cubicBezTo>
                    <a:pt x="2346" y="4480"/>
                    <a:pt x="2346" y="4475"/>
                    <a:pt x="2377" y="4427"/>
                  </a:cubicBezTo>
                  <a:cubicBezTo>
                    <a:pt x="2403" y="4388"/>
                    <a:pt x="2405" y="4364"/>
                    <a:pt x="2389" y="4316"/>
                  </a:cubicBezTo>
                  <a:cubicBezTo>
                    <a:pt x="2372" y="4269"/>
                    <a:pt x="2375" y="4237"/>
                    <a:pt x="2400" y="4178"/>
                  </a:cubicBezTo>
                  <a:cubicBezTo>
                    <a:pt x="2440" y="4082"/>
                    <a:pt x="2440" y="4088"/>
                    <a:pt x="2388" y="4068"/>
                  </a:cubicBezTo>
                  <a:cubicBezTo>
                    <a:pt x="2350" y="4054"/>
                    <a:pt x="2343" y="4033"/>
                    <a:pt x="2338" y="3920"/>
                  </a:cubicBezTo>
                  <a:cubicBezTo>
                    <a:pt x="2325" y="3629"/>
                    <a:pt x="2284" y="3204"/>
                    <a:pt x="2256" y="3075"/>
                  </a:cubicBezTo>
                  <a:cubicBezTo>
                    <a:pt x="2239" y="3000"/>
                    <a:pt x="2226" y="2910"/>
                    <a:pt x="2226" y="2875"/>
                  </a:cubicBezTo>
                  <a:cubicBezTo>
                    <a:pt x="2226" y="2840"/>
                    <a:pt x="2217" y="2811"/>
                    <a:pt x="2207" y="2811"/>
                  </a:cubicBezTo>
                  <a:cubicBezTo>
                    <a:pt x="2186" y="2811"/>
                    <a:pt x="2194" y="3052"/>
                    <a:pt x="2226" y="3366"/>
                  </a:cubicBezTo>
                  <a:cubicBezTo>
                    <a:pt x="2254" y="3639"/>
                    <a:pt x="2270" y="4043"/>
                    <a:pt x="2256" y="4089"/>
                  </a:cubicBezTo>
                  <a:cubicBezTo>
                    <a:pt x="2249" y="4110"/>
                    <a:pt x="2232" y="4127"/>
                    <a:pt x="2217" y="4127"/>
                  </a:cubicBezTo>
                  <a:cubicBezTo>
                    <a:pt x="2178" y="4127"/>
                    <a:pt x="2168" y="4356"/>
                    <a:pt x="2167" y="5217"/>
                  </a:cubicBezTo>
                  <a:cubicBezTo>
                    <a:pt x="2167" y="5630"/>
                    <a:pt x="2157" y="6078"/>
                    <a:pt x="2145" y="6214"/>
                  </a:cubicBezTo>
                  <a:cubicBezTo>
                    <a:pt x="2133" y="6350"/>
                    <a:pt x="2117" y="6563"/>
                    <a:pt x="2110" y="6687"/>
                  </a:cubicBezTo>
                  <a:cubicBezTo>
                    <a:pt x="2102" y="6847"/>
                    <a:pt x="2090" y="6918"/>
                    <a:pt x="2069" y="6930"/>
                  </a:cubicBezTo>
                  <a:cubicBezTo>
                    <a:pt x="2016" y="6961"/>
                    <a:pt x="2041" y="7024"/>
                    <a:pt x="2156" y="7148"/>
                  </a:cubicBezTo>
                  <a:cubicBezTo>
                    <a:pt x="2270" y="7272"/>
                    <a:pt x="2291" y="7339"/>
                    <a:pt x="2211" y="7331"/>
                  </a:cubicBezTo>
                  <a:cubicBezTo>
                    <a:pt x="2191" y="7329"/>
                    <a:pt x="2138" y="7324"/>
                    <a:pt x="2092" y="7320"/>
                  </a:cubicBezTo>
                  <a:close/>
                  <a:moveTo>
                    <a:pt x="690" y="2451"/>
                  </a:moveTo>
                  <a:cubicBezTo>
                    <a:pt x="708" y="2361"/>
                    <a:pt x="728" y="2250"/>
                    <a:pt x="734" y="2204"/>
                  </a:cubicBezTo>
                  <a:cubicBezTo>
                    <a:pt x="746" y="2126"/>
                    <a:pt x="744" y="2129"/>
                    <a:pt x="692" y="2246"/>
                  </a:cubicBezTo>
                  <a:cubicBezTo>
                    <a:pt x="662" y="2313"/>
                    <a:pt x="633" y="2399"/>
                    <a:pt x="628" y="2435"/>
                  </a:cubicBezTo>
                  <a:cubicBezTo>
                    <a:pt x="622" y="2471"/>
                    <a:pt x="606" y="2511"/>
                    <a:pt x="591" y="2524"/>
                  </a:cubicBezTo>
                  <a:cubicBezTo>
                    <a:pt x="569" y="2542"/>
                    <a:pt x="570" y="2557"/>
                    <a:pt x="598" y="2605"/>
                  </a:cubicBezTo>
                  <a:cubicBezTo>
                    <a:pt x="640" y="2679"/>
                    <a:pt x="650" y="2663"/>
                    <a:pt x="690" y="2451"/>
                  </a:cubicBezTo>
                  <a:close/>
                  <a:moveTo>
                    <a:pt x="6698" y="7300"/>
                  </a:moveTo>
                  <a:cubicBezTo>
                    <a:pt x="6604" y="7276"/>
                    <a:pt x="6614" y="7249"/>
                    <a:pt x="6750" y="7161"/>
                  </a:cubicBezTo>
                  <a:cubicBezTo>
                    <a:pt x="6874" y="7081"/>
                    <a:pt x="7017" y="6964"/>
                    <a:pt x="7017" y="6941"/>
                  </a:cubicBezTo>
                  <a:cubicBezTo>
                    <a:pt x="7017" y="6931"/>
                    <a:pt x="6994" y="6923"/>
                    <a:pt x="6966" y="6923"/>
                  </a:cubicBezTo>
                  <a:cubicBezTo>
                    <a:pt x="6906" y="6923"/>
                    <a:pt x="6902" y="6900"/>
                    <a:pt x="6944" y="6783"/>
                  </a:cubicBezTo>
                  <a:cubicBezTo>
                    <a:pt x="6960" y="6737"/>
                    <a:pt x="6988" y="6618"/>
                    <a:pt x="7006" y="6518"/>
                  </a:cubicBezTo>
                  <a:cubicBezTo>
                    <a:pt x="7105" y="5975"/>
                    <a:pt x="7164" y="5706"/>
                    <a:pt x="7244" y="5422"/>
                  </a:cubicBezTo>
                  <a:cubicBezTo>
                    <a:pt x="7516" y="4462"/>
                    <a:pt x="7504" y="4534"/>
                    <a:pt x="7392" y="4542"/>
                  </a:cubicBezTo>
                  <a:lnTo>
                    <a:pt x="7315" y="4548"/>
                  </a:lnTo>
                  <a:lnTo>
                    <a:pt x="7301" y="4425"/>
                  </a:lnTo>
                  <a:cubicBezTo>
                    <a:pt x="7293" y="4357"/>
                    <a:pt x="7273" y="4218"/>
                    <a:pt x="7255" y="4117"/>
                  </a:cubicBezTo>
                  <a:cubicBezTo>
                    <a:pt x="7237" y="4015"/>
                    <a:pt x="7223" y="3860"/>
                    <a:pt x="7223" y="3774"/>
                  </a:cubicBezTo>
                  <a:lnTo>
                    <a:pt x="7223" y="3616"/>
                  </a:lnTo>
                  <a:lnTo>
                    <a:pt x="7063" y="3537"/>
                  </a:lnTo>
                  <a:lnTo>
                    <a:pt x="6904" y="3459"/>
                  </a:lnTo>
                  <a:lnTo>
                    <a:pt x="6898" y="3196"/>
                  </a:lnTo>
                  <a:cubicBezTo>
                    <a:pt x="6893" y="2962"/>
                    <a:pt x="6878" y="2896"/>
                    <a:pt x="6844" y="2952"/>
                  </a:cubicBezTo>
                  <a:cubicBezTo>
                    <a:pt x="6838" y="2962"/>
                    <a:pt x="6790" y="2981"/>
                    <a:pt x="6739" y="2994"/>
                  </a:cubicBezTo>
                  <a:cubicBezTo>
                    <a:pt x="6687" y="3007"/>
                    <a:pt x="6640" y="3030"/>
                    <a:pt x="6635" y="3045"/>
                  </a:cubicBezTo>
                  <a:cubicBezTo>
                    <a:pt x="6629" y="3061"/>
                    <a:pt x="6638" y="3127"/>
                    <a:pt x="6655" y="3194"/>
                  </a:cubicBezTo>
                  <a:cubicBezTo>
                    <a:pt x="6691" y="3334"/>
                    <a:pt x="6722" y="3614"/>
                    <a:pt x="6750" y="4075"/>
                  </a:cubicBezTo>
                  <a:cubicBezTo>
                    <a:pt x="6769" y="4376"/>
                    <a:pt x="6794" y="4669"/>
                    <a:pt x="6825" y="4941"/>
                  </a:cubicBezTo>
                  <a:lnTo>
                    <a:pt x="6837" y="5045"/>
                  </a:lnTo>
                  <a:lnTo>
                    <a:pt x="6747" y="5087"/>
                  </a:lnTo>
                  <a:cubicBezTo>
                    <a:pt x="6698" y="5109"/>
                    <a:pt x="6585" y="5150"/>
                    <a:pt x="6497" y="5177"/>
                  </a:cubicBezTo>
                  <a:cubicBezTo>
                    <a:pt x="6377" y="5215"/>
                    <a:pt x="6335" y="5237"/>
                    <a:pt x="6328" y="5268"/>
                  </a:cubicBezTo>
                  <a:cubicBezTo>
                    <a:pt x="6323" y="5291"/>
                    <a:pt x="6285" y="5487"/>
                    <a:pt x="6244" y="5705"/>
                  </a:cubicBezTo>
                  <a:cubicBezTo>
                    <a:pt x="6159" y="6158"/>
                    <a:pt x="6160" y="6237"/>
                    <a:pt x="6259" y="6361"/>
                  </a:cubicBezTo>
                  <a:cubicBezTo>
                    <a:pt x="6346" y="6470"/>
                    <a:pt x="6404" y="6589"/>
                    <a:pt x="6396" y="6642"/>
                  </a:cubicBezTo>
                  <a:cubicBezTo>
                    <a:pt x="6389" y="6695"/>
                    <a:pt x="6307" y="6712"/>
                    <a:pt x="6216" y="6680"/>
                  </a:cubicBezTo>
                  <a:cubicBezTo>
                    <a:pt x="6159" y="6660"/>
                    <a:pt x="6157" y="6662"/>
                    <a:pt x="6134" y="6753"/>
                  </a:cubicBezTo>
                  <a:cubicBezTo>
                    <a:pt x="6070" y="7006"/>
                    <a:pt x="5911" y="7169"/>
                    <a:pt x="5846" y="7048"/>
                  </a:cubicBezTo>
                  <a:cubicBezTo>
                    <a:pt x="5814" y="6989"/>
                    <a:pt x="5820" y="6811"/>
                    <a:pt x="5858" y="6659"/>
                  </a:cubicBezTo>
                  <a:cubicBezTo>
                    <a:pt x="5886" y="6547"/>
                    <a:pt x="5888" y="6500"/>
                    <a:pt x="5869" y="6369"/>
                  </a:cubicBezTo>
                  <a:cubicBezTo>
                    <a:pt x="5847" y="6220"/>
                    <a:pt x="5784" y="5863"/>
                    <a:pt x="5738" y="5628"/>
                  </a:cubicBezTo>
                  <a:cubicBezTo>
                    <a:pt x="5726" y="5566"/>
                    <a:pt x="5711" y="5464"/>
                    <a:pt x="5704" y="5403"/>
                  </a:cubicBezTo>
                  <a:lnTo>
                    <a:pt x="5691" y="5291"/>
                  </a:lnTo>
                  <a:lnTo>
                    <a:pt x="5509" y="5255"/>
                  </a:lnTo>
                  <a:cubicBezTo>
                    <a:pt x="5260" y="5206"/>
                    <a:pt x="5228" y="5182"/>
                    <a:pt x="5229" y="5047"/>
                  </a:cubicBezTo>
                  <a:cubicBezTo>
                    <a:pt x="5229" y="4987"/>
                    <a:pt x="5238" y="4851"/>
                    <a:pt x="5248" y="4744"/>
                  </a:cubicBezTo>
                  <a:cubicBezTo>
                    <a:pt x="5258" y="4636"/>
                    <a:pt x="5272" y="4474"/>
                    <a:pt x="5280" y="4384"/>
                  </a:cubicBezTo>
                  <a:cubicBezTo>
                    <a:pt x="5293" y="4210"/>
                    <a:pt x="5413" y="3503"/>
                    <a:pt x="5465" y="3293"/>
                  </a:cubicBezTo>
                  <a:cubicBezTo>
                    <a:pt x="5503" y="3136"/>
                    <a:pt x="5503" y="3063"/>
                    <a:pt x="5464" y="2988"/>
                  </a:cubicBezTo>
                  <a:cubicBezTo>
                    <a:pt x="5420" y="2903"/>
                    <a:pt x="5425" y="2872"/>
                    <a:pt x="5509" y="2716"/>
                  </a:cubicBezTo>
                  <a:lnTo>
                    <a:pt x="5585" y="2576"/>
                  </a:lnTo>
                  <a:lnTo>
                    <a:pt x="5561" y="2358"/>
                  </a:lnTo>
                  <a:cubicBezTo>
                    <a:pt x="5530" y="2082"/>
                    <a:pt x="5530" y="1727"/>
                    <a:pt x="5560" y="1637"/>
                  </a:cubicBezTo>
                  <a:cubicBezTo>
                    <a:pt x="5594" y="1536"/>
                    <a:pt x="5633" y="1499"/>
                    <a:pt x="5783" y="1422"/>
                  </a:cubicBezTo>
                  <a:cubicBezTo>
                    <a:pt x="5984" y="1320"/>
                    <a:pt x="5995" y="1309"/>
                    <a:pt x="5997" y="1201"/>
                  </a:cubicBezTo>
                  <a:cubicBezTo>
                    <a:pt x="5999" y="1114"/>
                    <a:pt x="5992" y="1101"/>
                    <a:pt x="5908" y="1028"/>
                  </a:cubicBezTo>
                  <a:cubicBezTo>
                    <a:pt x="5858" y="985"/>
                    <a:pt x="5791" y="934"/>
                    <a:pt x="5758" y="914"/>
                  </a:cubicBezTo>
                  <a:cubicBezTo>
                    <a:pt x="5709" y="884"/>
                    <a:pt x="5700" y="865"/>
                    <a:pt x="5703" y="801"/>
                  </a:cubicBezTo>
                  <a:cubicBezTo>
                    <a:pt x="5705" y="758"/>
                    <a:pt x="5696" y="698"/>
                    <a:pt x="5683" y="666"/>
                  </a:cubicBezTo>
                  <a:cubicBezTo>
                    <a:pt x="5645" y="570"/>
                    <a:pt x="5700" y="417"/>
                    <a:pt x="5809" y="319"/>
                  </a:cubicBezTo>
                  <a:cubicBezTo>
                    <a:pt x="5971" y="173"/>
                    <a:pt x="6027" y="148"/>
                    <a:pt x="6196" y="148"/>
                  </a:cubicBezTo>
                  <a:cubicBezTo>
                    <a:pt x="6323" y="148"/>
                    <a:pt x="6363" y="156"/>
                    <a:pt x="6398" y="187"/>
                  </a:cubicBezTo>
                  <a:cubicBezTo>
                    <a:pt x="6516" y="294"/>
                    <a:pt x="6610" y="559"/>
                    <a:pt x="6586" y="716"/>
                  </a:cubicBezTo>
                  <a:cubicBezTo>
                    <a:pt x="6572" y="805"/>
                    <a:pt x="6528" y="899"/>
                    <a:pt x="6499" y="899"/>
                  </a:cubicBezTo>
                  <a:cubicBezTo>
                    <a:pt x="6490" y="899"/>
                    <a:pt x="6451" y="927"/>
                    <a:pt x="6411" y="962"/>
                  </a:cubicBezTo>
                  <a:cubicBezTo>
                    <a:pt x="6280" y="1078"/>
                    <a:pt x="6329" y="1211"/>
                    <a:pt x="6534" y="1295"/>
                  </a:cubicBezTo>
                  <a:cubicBezTo>
                    <a:pt x="6579" y="1313"/>
                    <a:pt x="6648" y="1333"/>
                    <a:pt x="6688" y="1338"/>
                  </a:cubicBezTo>
                  <a:cubicBezTo>
                    <a:pt x="6797" y="1351"/>
                    <a:pt x="6821" y="1366"/>
                    <a:pt x="6891" y="1464"/>
                  </a:cubicBezTo>
                  <a:cubicBezTo>
                    <a:pt x="6934" y="1524"/>
                    <a:pt x="6974" y="1624"/>
                    <a:pt x="7011" y="1763"/>
                  </a:cubicBezTo>
                  <a:lnTo>
                    <a:pt x="7065" y="1971"/>
                  </a:lnTo>
                  <a:lnTo>
                    <a:pt x="7121" y="1849"/>
                  </a:lnTo>
                  <a:cubicBezTo>
                    <a:pt x="7168" y="1745"/>
                    <a:pt x="7266" y="1639"/>
                    <a:pt x="7314" y="1639"/>
                  </a:cubicBezTo>
                  <a:cubicBezTo>
                    <a:pt x="7328" y="1639"/>
                    <a:pt x="7557" y="1537"/>
                    <a:pt x="7568" y="1526"/>
                  </a:cubicBezTo>
                  <a:cubicBezTo>
                    <a:pt x="7572" y="1522"/>
                    <a:pt x="7542" y="1477"/>
                    <a:pt x="7502" y="1424"/>
                  </a:cubicBezTo>
                  <a:cubicBezTo>
                    <a:pt x="7463" y="1372"/>
                    <a:pt x="7423" y="1295"/>
                    <a:pt x="7415" y="1253"/>
                  </a:cubicBezTo>
                  <a:cubicBezTo>
                    <a:pt x="7392" y="1128"/>
                    <a:pt x="7398" y="833"/>
                    <a:pt x="7426" y="751"/>
                  </a:cubicBezTo>
                  <a:cubicBezTo>
                    <a:pt x="7478" y="596"/>
                    <a:pt x="7668" y="490"/>
                    <a:pt x="7843" y="516"/>
                  </a:cubicBezTo>
                  <a:cubicBezTo>
                    <a:pt x="8042" y="546"/>
                    <a:pt x="8122" y="655"/>
                    <a:pt x="8168" y="961"/>
                  </a:cubicBezTo>
                  <a:cubicBezTo>
                    <a:pt x="8194" y="1136"/>
                    <a:pt x="8194" y="1138"/>
                    <a:pt x="8140" y="1239"/>
                  </a:cubicBezTo>
                  <a:cubicBezTo>
                    <a:pt x="8111" y="1295"/>
                    <a:pt x="8086" y="1355"/>
                    <a:pt x="8086" y="1374"/>
                  </a:cubicBezTo>
                  <a:cubicBezTo>
                    <a:pt x="8086" y="1411"/>
                    <a:pt x="8267" y="1543"/>
                    <a:pt x="8471" y="1655"/>
                  </a:cubicBezTo>
                  <a:cubicBezTo>
                    <a:pt x="8548" y="1697"/>
                    <a:pt x="8626" y="1741"/>
                    <a:pt x="8645" y="1752"/>
                  </a:cubicBezTo>
                  <a:cubicBezTo>
                    <a:pt x="8696" y="1784"/>
                    <a:pt x="8834" y="2008"/>
                    <a:pt x="8872" y="2122"/>
                  </a:cubicBezTo>
                  <a:cubicBezTo>
                    <a:pt x="8945" y="2342"/>
                    <a:pt x="9017" y="2694"/>
                    <a:pt x="9044" y="2961"/>
                  </a:cubicBezTo>
                  <a:lnTo>
                    <a:pt x="9058" y="3100"/>
                  </a:lnTo>
                  <a:lnTo>
                    <a:pt x="8915" y="3244"/>
                  </a:lnTo>
                  <a:lnTo>
                    <a:pt x="8772" y="3387"/>
                  </a:lnTo>
                  <a:lnTo>
                    <a:pt x="8768" y="3598"/>
                  </a:lnTo>
                  <a:cubicBezTo>
                    <a:pt x="8765" y="3713"/>
                    <a:pt x="8759" y="3836"/>
                    <a:pt x="8754" y="3870"/>
                  </a:cubicBezTo>
                  <a:cubicBezTo>
                    <a:pt x="8749" y="3904"/>
                    <a:pt x="8740" y="3987"/>
                    <a:pt x="8733" y="4055"/>
                  </a:cubicBezTo>
                  <a:cubicBezTo>
                    <a:pt x="8706" y="4329"/>
                    <a:pt x="8686" y="4371"/>
                    <a:pt x="8545" y="4445"/>
                  </a:cubicBezTo>
                  <a:cubicBezTo>
                    <a:pt x="8441" y="4500"/>
                    <a:pt x="8424" y="4518"/>
                    <a:pt x="8369" y="4640"/>
                  </a:cubicBezTo>
                  <a:lnTo>
                    <a:pt x="8308" y="4774"/>
                  </a:lnTo>
                  <a:lnTo>
                    <a:pt x="8344" y="4877"/>
                  </a:lnTo>
                  <a:cubicBezTo>
                    <a:pt x="8383" y="4986"/>
                    <a:pt x="8536" y="5349"/>
                    <a:pt x="8631" y="5556"/>
                  </a:cubicBezTo>
                  <a:cubicBezTo>
                    <a:pt x="8721" y="5753"/>
                    <a:pt x="8737" y="5792"/>
                    <a:pt x="8813" y="5998"/>
                  </a:cubicBezTo>
                  <a:cubicBezTo>
                    <a:pt x="8852" y="6105"/>
                    <a:pt x="8923" y="6298"/>
                    <a:pt x="8970" y="6426"/>
                  </a:cubicBezTo>
                  <a:cubicBezTo>
                    <a:pt x="9033" y="6597"/>
                    <a:pt x="9050" y="6665"/>
                    <a:pt x="9034" y="6685"/>
                  </a:cubicBezTo>
                  <a:cubicBezTo>
                    <a:pt x="9020" y="6701"/>
                    <a:pt x="9017" y="6750"/>
                    <a:pt x="9025" y="6808"/>
                  </a:cubicBezTo>
                  <a:cubicBezTo>
                    <a:pt x="9036" y="6888"/>
                    <a:pt x="9031" y="6909"/>
                    <a:pt x="8999" y="6934"/>
                  </a:cubicBezTo>
                  <a:cubicBezTo>
                    <a:pt x="8978" y="6950"/>
                    <a:pt x="8942" y="6963"/>
                    <a:pt x="8920" y="6964"/>
                  </a:cubicBezTo>
                  <a:cubicBezTo>
                    <a:pt x="8898" y="6964"/>
                    <a:pt x="8843" y="6982"/>
                    <a:pt x="8797" y="7003"/>
                  </a:cubicBezTo>
                  <a:cubicBezTo>
                    <a:pt x="8673" y="7060"/>
                    <a:pt x="8520" y="7104"/>
                    <a:pt x="8416" y="7112"/>
                  </a:cubicBezTo>
                  <a:cubicBezTo>
                    <a:pt x="8342" y="7117"/>
                    <a:pt x="8323" y="7112"/>
                    <a:pt x="8317" y="7083"/>
                  </a:cubicBezTo>
                  <a:cubicBezTo>
                    <a:pt x="8312" y="7061"/>
                    <a:pt x="8322" y="7047"/>
                    <a:pt x="8341" y="7047"/>
                  </a:cubicBezTo>
                  <a:cubicBezTo>
                    <a:pt x="8359" y="7047"/>
                    <a:pt x="8414" y="7007"/>
                    <a:pt x="8464" y="6959"/>
                  </a:cubicBezTo>
                  <a:cubicBezTo>
                    <a:pt x="8540" y="6887"/>
                    <a:pt x="8554" y="6862"/>
                    <a:pt x="8545" y="6815"/>
                  </a:cubicBezTo>
                  <a:cubicBezTo>
                    <a:pt x="8539" y="6784"/>
                    <a:pt x="8544" y="6746"/>
                    <a:pt x="8557" y="6730"/>
                  </a:cubicBezTo>
                  <a:cubicBezTo>
                    <a:pt x="8576" y="6707"/>
                    <a:pt x="8569" y="6697"/>
                    <a:pt x="8521" y="6681"/>
                  </a:cubicBezTo>
                  <a:cubicBezTo>
                    <a:pt x="8469" y="6663"/>
                    <a:pt x="8461" y="6648"/>
                    <a:pt x="8452" y="6560"/>
                  </a:cubicBezTo>
                  <a:cubicBezTo>
                    <a:pt x="8440" y="6438"/>
                    <a:pt x="7970" y="5474"/>
                    <a:pt x="7923" y="5474"/>
                  </a:cubicBezTo>
                  <a:cubicBezTo>
                    <a:pt x="7859" y="5474"/>
                    <a:pt x="7745" y="5778"/>
                    <a:pt x="7636" y="6245"/>
                  </a:cubicBezTo>
                  <a:cubicBezTo>
                    <a:pt x="7613" y="6341"/>
                    <a:pt x="7576" y="6500"/>
                    <a:pt x="7553" y="6599"/>
                  </a:cubicBezTo>
                  <a:cubicBezTo>
                    <a:pt x="7529" y="6697"/>
                    <a:pt x="7510" y="6804"/>
                    <a:pt x="7510" y="6836"/>
                  </a:cubicBezTo>
                  <a:cubicBezTo>
                    <a:pt x="7510" y="6868"/>
                    <a:pt x="7492" y="6909"/>
                    <a:pt x="7469" y="6929"/>
                  </a:cubicBezTo>
                  <a:cubicBezTo>
                    <a:pt x="7440" y="6954"/>
                    <a:pt x="7428" y="6989"/>
                    <a:pt x="7428" y="7055"/>
                  </a:cubicBezTo>
                  <a:cubicBezTo>
                    <a:pt x="7428" y="7169"/>
                    <a:pt x="7396" y="7202"/>
                    <a:pt x="7270" y="7220"/>
                  </a:cubicBezTo>
                  <a:cubicBezTo>
                    <a:pt x="7216" y="7228"/>
                    <a:pt x="7125" y="7248"/>
                    <a:pt x="7068" y="7263"/>
                  </a:cubicBezTo>
                  <a:cubicBezTo>
                    <a:pt x="6951" y="7296"/>
                    <a:pt x="6759" y="7315"/>
                    <a:pt x="6698" y="7300"/>
                  </a:cubicBezTo>
                  <a:close/>
                  <a:moveTo>
                    <a:pt x="6712" y="2571"/>
                  </a:moveTo>
                  <a:cubicBezTo>
                    <a:pt x="6752" y="2535"/>
                    <a:pt x="6765" y="2373"/>
                    <a:pt x="6733" y="2322"/>
                  </a:cubicBezTo>
                  <a:cubicBezTo>
                    <a:pt x="6718" y="2299"/>
                    <a:pt x="6691" y="2366"/>
                    <a:pt x="6634" y="2569"/>
                  </a:cubicBezTo>
                  <a:cubicBezTo>
                    <a:pt x="6621" y="2615"/>
                    <a:pt x="6663" y="2616"/>
                    <a:pt x="6712" y="2571"/>
                  </a:cubicBezTo>
                  <a:close/>
                  <a:moveTo>
                    <a:pt x="20277" y="7257"/>
                  </a:moveTo>
                  <a:cubicBezTo>
                    <a:pt x="20259" y="7213"/>
                    <a:pt x="20264" y="7151"/>
                    <a:pt x="20297" y="6975"/>
                  </a:cubicBezTo>
                  <a:cubicBezTo>
                    <a:pt x="20345" y="6721"/>
                    <a:pt x="20344" y="6713"/>
                    <a:pt x="20221" y="6204"/>
                  </a:cubicBezTo>
                  <a:cubicBezTo>
                    <a:pt x="20187" y="6062"/>
                    <a:pt x="20148" y="5872"/>
                    <a:pt x="20135" y="5782"/>
                  </a:cubicBezTo>
                  <a:cubicBezTo>
                    <a:pt x="20099" y="5537"/>
                    <a:pt x="20092" y="5525"/>
                    <a:pt x="19985" y="5525"/>
                  </a:cubicBezTo>
                  <a:cubicBezTo>
                    <a:pt x="19895" y="5525"/>
                    <a:pt x="19723" y="5498"/>
                    <a:pt x="19662" y="5474"/>
                  </a:cubicBezTo>
                  <a:cubicBezTo>
                    <a:pt x="19635" y="5464"/>
                    <a:pt x="19626" y="5502"/>
                    <a:pt x="19603" y="5715"/>
                  </a:cubicBezTo>
                  <a:cubicBezTo>
                    <a:pt x="19589" y="5853"/>
                    <a:pt x="19569" y="6138"/>
                    <a:pt x="19559" y="6347"/>
                  </a:cubicBezTo>
                  <a:cubicBezTo>
                    <a:pt x="19540" y="6771"/>
                    <a:pt x="19531" y="6820"/>
                    <a:pt x="19475" y="6820"/>
                  </a:cubicBezTo>
                  <a:cubicBezTo>
                    <a:pt x="19444" y="6820"/>
                    <a:pt x="19436" y="6836"/>
                    <a:pt x="19436" y="6900"/>
                  </a:cubicBezTo>
                  <a:cubicBezTo>
                    <a:pt x="19436" y="6944"/>
                    <a:pt x="19425" y="6989"/>
                    <a:pt x="19411" y="7000"/>
                  </a:cubicBezTo>
                  <a:cubicBezTo>
                    <a:pt x="19384" y="7021"/>
                    <a:pt x="19202" y="7070"/>
                    <a:pt x="19175" y="7064"/>
                  </a:cubicBezTo>
                  <a:cubicBezTo>
                    <a:pt x="19153" y="7059"/>
                    <a:pt x="18838" y="7089"/>
                    <a:pt x="18798" y="7100"/>
                  </a:cubicBezTo>
                  <a:cubicBezTo>
                    <a:pt x="18780" y="7104"/>
                    <a:pt x="18755" y="7139"/>
                    <a:pt x="18741" y="7177"/>
                  </a:cubicBezTo>
                  <a:cubicBezTo>
                    <a:pt x="18713" y="7256"/>
                    <a:pt x="18638" y="7304"/>
                    <a:pt x="18576" y="7284"/>
                  </a:cubicBezTo>
                  <a:cubicBezTo>
                    <a:pt x="18517" y="7265"/>
                    <a:pt x="18483" y="7131"/>
                    <a:pt x="18496" y="6968"/>
                  </a:cubicBezTo>
                  <a:cubicBezTo>
                    <a:pt x="18507" y="6839"/>
                    <a:pt x="18506" y="6837"/>
                    <a:pt x="18447" y="6817"/>
                  </a:cubicBezTo>
                  <a:cubicBezTo>
                    <a:pt x="18378" y="6792"/>
                    <a:pt x="18370" y="6749"/>
                    <a:pt x="18428" y="6718"/>
                  </a:cubicBezTo>
                  <a:cubicBezTo>
                    <a:pt x="18469" y="6696"/>
                    <a:pt x="18469" y="6695"/>
                    <a:pt x="18425" y="6578"/>
                  </a:cubicBezTo>
                  <a:cubicBezTo>
                    <a:pt x="18401" y="6514"/>
                    <a:pt x="18326" y="6336"/>
                    <a:pt x="18259" y="6183"/>
                  </a:cubicBezTo>
                  <a:cubicBezTo>
                    <a:pt x="18192" y="6030"/>
                    <a:pt x="18096" y="5808"/>
                    <a:pt x="18047" y="5690"/>
                  </a:cubicBezTo>
                  <a:cubicBezTo>
                    <a:pt x="17944" y="5444"/>
                    <a:pt x="17957" y="5452"/>
                    <a:pt x="17668" y="5430"/>
                  </a:cubicBezTo>
                  <a:cubicBezTo>
                    <a:pt x="17345" y="5405"/>
                    <a:pt x="17384" y="5386"/>
                    <a:pt x="17328" y="5597"/>
                  </a:cubicBezTo>
                  <a:cubicBezTo>
                    <a:pt x="17302" y="5699"/>
                    <a:pt x="17232" y="5935"/>
                    <a:pt x="17175" y="6121"/>
                  </a:cubicBezTo>
                  <a:cubicBezTo>
                    <a:pt x="17052" y="6516"/>
                    <a:pt x="17036" y="6619"/>
                    <a:pt x="17071" y="6766"/>
                  </a:cubicBezTo>
                  <a:cubicBezTo>
                    <a:pt x="17093" y="6856"/>
                    <a:pt x="17092" y="6888"/>
                    <a:pt x="17066" y="6965"/>
                  </a:cubicBezTo>
                  <a:cubicBezTo>
                    <a:pt x="17031" y="7068"/>
                    <a:pt x="16983" y="7086"/>
                    <a:pt x="16973" y="7000"/>
                  </a:cubicBezTo>
                  <a:cubicBezTo>
                    <a:pt x="16969" y="6969"/>
                    <a:pt x="16962" y="6944"/>
                    <a:pt x="16957" y="6944"/>
                  </a:cubicBezTo>
                  <a:cubicBezTo>
                    <a:pt x="16951" y="6944"/>
                    <a:pt x="16899" y="6979"/>
                    <a:pt x="16840" y="7023"/>
                  </a:cubicBezTo>
                  <a:cubicBezTo>
                    <a:pt x="16781" y="7067"/>
                    <a:pt x="16701" y="7113"/>
                    <a:pt x="16663" y="7126"/>
                  </a:cubicBezTo>
                  <a:cubicBezTo>
                    <a:pt x="16572" y="7156"/>
                    <a:pt x="16414" y="7156"/>
                    <a:pt x="16414" y="7126"/>
                  </a:cubicBezTo>
                  <a:cubicBezTo>
                    <a:pt x="16414" y="7113"/>
                    <a:pt x="16472" y="7050"/>
                    <a:pt x="16543" y="6984"/>
                  </a:cubicBezTo>
                  <a:cubicBezTo>
                    <a:pt x="16698" y="6842"/>
                    <a:pt x="16766" y="6724"/>
                    <a:pt x="16823" y="6491"/>
                  </a:cubicBezTo>
                  <a:cubicBezTo>
                    <a:pt x="16872" y="6291"/>
                    <a:pt x="16979" y="5341"/>
                    <a:pt x="16954" y="5319"/>
                  </a:cubicBezTo>
                  <a:cubicBezTo>
                    <a:pt x="16946" y="5311"/>
                    <a:pt x="16870" y="5283"/>
                    <a:pt x="16787" y="5256"/>
                  </a:cubicBezTo>
                  <a:cubicBezTo>
                    <a:pt x="16557" y="5182"/>
                    <a:pt x="16563" y="5193"/>
                    <a:pt x="16616" y="4978"/>
                  </a:cubicBezTo>
                  <a:cubicBezTo>
                    <a:pt x="16735" y="4494"/>
                    <a:pt x="16763" y="4369"/>
                    <a:pt x="16763" y="4333"/>
                  </a:cubicBezTo>
                  <a:cubicBezTo>
                    <a:pt x="16763" y="4303"/>
                    <a:pt x="16742" y="4292"/>
                    <a:pt x="16659" y="4281"/>
                  </a:cubicBezTo>
                  <a:cubicBezTo>
                    <a:pt x="16595" y="4272"/>
                    <a:pt x="16550" y="4254"/>
                    <a:pt x="16543" y="4235"/>
                  </a:cubicBezTo>
                  <a:cubicBezTo>
                    <a:pt x="16532" y="4208"/>
                    <a:pt x="16593" y="3923"/>
                    <a:pt x="16640" y="3777"/>
                  </a:cubicBezTo>
                  <a:cubicBezTo>
                    <a:pt x="16649" y="3749"/>
                    <a:pt x="16668" y="3681"/>
                    <a:pt x="16682" y="3627"/>
                  </a:cubicBezTo>
                  <a:cubicBezTo>
                    <a:pt x="16700" y="3558"/>
                    <a:pt x="16723" y="3521"/>
                    <a:pt x="16759" y="3502"/>
                  </a:cubicBezTo>
                  <a:cubicBezTo>
                    <a:pt x="16794" y="3484"/>
                    <a:pt x="16826" y="3433"/>
                    <a:pt x="16859" y="3346"/>
                  </a:cubicBezTo>
                  <a:cubicBezTo>
                    <a:pt x="16886" y="3275"/>
                    <a:pt x="16907" y="3209"/>
                    <a:pt x="16907" y="3199"/>
                  </a:cubicBezTo>
                  <a:cubicBezTo>
                    <a:pt x="16907" y="3171"/>
                    <a:pt x="16821" y="3179"/>
                    <a:pt x="16763" y="3212"/>
                  </a:cubicBezTo>
                  <a:cubicBezTo>
                    <a:pt x="16683" y="3258"/>
                    <a:pt x="16590" y="3249"/>
                    <a:pt x="16518" y="3189"/>
                  </a:cubicBezTo>
                  <a:cubicBezTo>
                    <a:pt x="16483" y="3160"/>
                    <a:pt x="16455" y="3129"/>
                    <a:pt x="16455" y="3121"/>
                  </a:cubicBezTo>
                  <a:cubicBezTo>
                    <a:pt x="16455" y="3113"/>
                    <a:pt x="16490" y="3090"/>
                    <a:pt x="16532" y="3070"/>
                  </a:cubicBezTo>
                  <a:cubicBezTo>
                    <a:pt x="16601" y="3037"/>
                    <a:pt x="16605" y="3031"/>
                    <a:pt x="16573" y="3007"/>
                  </a:cubicBezTo>
                  <a:cubicBezTo>
                    <a:pt x="16528" y="2974"/>
                    <a:pt x="16528" y="2963"/>
                    <a:pt x="16573" y="2947"/>
                  </a:cubicBezTo>
                  <a:cubicBezTo>
                    <a:pt x="16593" y="2939"/>
                    <a:pt x="16632" y="2920"/>
                    <a:pt x="16661" y="2903"/>
                  </a:cubicBezTo>
                  <a:cubicBezTo>
                    <a:pt x="16729" y="2863"/>
                    <a:pt x="16797" y="2865"/>
                    <a:pt x="16944" y="2911"/>
                  </a:cubicBezTo>
                  <a:lnTo>
                    <a:pt x="17067" y="2949"/>
                  </a:lnTo>
                  <a:lnTo>
                    <a:pt x="17089" y="2875"/>
                  </a:lnTo>
                  <a:cubicBezTo>
                    <a:pt x="17101" y="2834"/>
                    <a:pt x="17124" y="2717"/>
                    <a:pt x="17142" y="2615"/>
                  </a:cubicBezTo>
                  <a:cubicBezTo>
                    <a:pt x="17194" y="2306"/>
                    <a:pt x="17272" y="2032"/>
                    <a:pt x="17338" y="1925"/>
                  </a:cubicBezTo>
                  <a:cubicBezTo>
                    <a:pt x="17382" y="1853"/>
                    <a:pt x="17401" y="1797"/>
                    <a:pt x="17401" y="1735"/>
                  </a:cubicBezTo>
                  <a:cubicBezTo>
                    <a:pt x="17401" y="1660"/>
                    <a:pt x="17412" y="1636"/>
                    <a:pt x="17483" y="1567"/>
                  </a:cubicBezTo>
                  <a:cubicBezTo>
                    <a:pt x="17587" y="1465"/>
                    <a:pt x="17592" y="1413"/>
                    <a:pt x="17497" y="1413"/>
                  </a:cubicBezTo>
                  <a:cubicBezTo>
                    <a:pt x="17460" y="1413"/>
                    <a:pt x="17411" y="1399"/>
                    <a:pt x="17389" y="1382"/>
                  </a:cubicBezTo>
                  <a:cubicBezTo>
                    <a:pt x="17367" y="1366"/>
                    <a:pt x="17319" y="1352"/>
                    <a:pt x="17282" y="1352"/>
                  </a:cubicBezTo>
                  <a:cubicBezTo>
                    <a:pt x="17237" y="1351"/>
                    <a:pt x="17196" y="1333"/>
                    <a:pt x="17161" y="1298"/>
                  </a:cubicBezTo>
                  <a:cubicBezTo>
                    <a:pt x="17110" y="1247"/>
                    <a:pt x="17109" y="1237"/>
                    <a:pt x="17118" y="1067"/>
                  </a:cubicBezTo>
                  <a:cubicBezTo>
                    <a:pt x="17131" y="845"/>
                    <a:pt x="17178" y="702"/>
                    <a:pt x="17271" y="603"/>
                  </a:cubicBezTo>
                  <a:cubicBezTo>
                    <a:pt x="17375" y="493"/>
                    <a:pt x="17433" y="461"/>
                    <a:pt x="17552" y="444"/>
                  </a:cubicBezTo>
                  <a:cubicBezTo>
                    <a:pt x="17698" y="424"/>
                    <a:pt x="17807" y="479"/>
                    <a:pt x="17895" y="615"/>
                  </a:cubicBezTo>
                  <a:cubicBezTo>
                    <a:pt x="18035" y="831"/>
                    <a:pt x="18050" y="1082"/>
                    <a:pt x="17933" y="1231"/>
                  </a:cubicBezTo>
                  <a:cubicBezTo>
                    <a:pt x="17863" y="1321"/>
                    <a:pt x="17857" y="1371"/>
                    <a:pt x="17916" y="1371"/>
                  </a:cubicBezTo>
                  <a:cubicBezTo>
                    <a:pt x="17982" y="1371"/>
                    <a:pt x="18032" y="1407"/>
                    <a:pt x="18046" y="1463"/>
                  </a:cubicBezTo>
                  <a:cubicBezTo>
                    <a:pt x="18056" y="1502"/>
                    <a:pt x="18080" y="1519"/>
                    <a:pt x="18146" y="1536"/>
                  </a:cubicBezTo>
                  <a:cubicBezTo>
                    <a:pt x="18302" y="1576"/>
                    <a:pt x="18364" y="1599"/>
                    <a:pt x="18384" y="1624"/>
                  </a:cubicBezTo>
                  <a:cubicBezTo>
                    <a:pt x="18430" y="1681"/>
                    <a:pt x="18533" y="1909"/>
                    <a:pt x="18597" y="2096"/>
                  </a:cubicBezTo>
                  <a:cubicBezTo>
                    <a:pt x="18635" y="2207"/>
                    <a:pt x="18670" y="2296"/>
                    <a:pt x="18676" y="2296"/>
                  </a:cubicBezTo>
                  <a:cubicBezTo>
                    <a:pt x="18688" y="2295"/>
                    <a:pt x="18843" y="1977"/>
                    <a:pt x="18901" y="1834"/>
                  </a:cubicBezTo>
                  <a:cubicBezTo>
                    <a:pt x="18923" y="1778"/>
                    <a:pt x="18970" y="1642"/>
                    <a:pt x="19005" y="1533"/>
                  </a:cubicBezTo>
                  <a:cubicBezTo>
                    <a:pt x="19040" y="1424"/>
                    <a:pt x="19086" y="1319"/>
                    <a:pt x="19108" y="1299"/>
                  </a:cubicBezTo>
                  <a:cubicBezTo>
                    <a:pt x="19176" y="1238"/>
                    <a:pt x="19160" y="1192"/>
                    <a:pt x="19066" y="1176"/>
                  </a:cubicBezTo>
                  <a:cubicBezTo>
                    <a:pt x="18998" y="1165"/>
                    <a:pt x="18967" y="1142"/>
                    <a:pt x="18892" y="1050"/>
                  </a:cubicBezTo>
                  <a:cubicBezTo>
                    <a:pt x="18790" y="925"/>
                    <a:pt x="18768" y="860"/>
                    <a:pt x="18748" y="627"/>
                  </a:cubicBezTo>
                  <a:cubicBezTo>
                    <a:pt x="18736" y="485"/>
                    <a:pt x="18739" y="457"/>
                    <a:pt x="18782" y="372"/>
                  </a:cubicBezTo>
                  <a:cubicBezTo>
                    <a:pt x="18849" y="237"/>
                    <a:pt x="18956" y="170"/>
                    <a:pt x="19097" y="173"/>
                  </a:cubicBezTo>
                  <a:cubicBezTo>
                    <a:pt x="19283" y="177"/>
                    <a:pt x="19376" y="248"/>
                    <a:pt x="19418" y="415"/>
                  </a:cubicBezTo>
                  <a:cubicBezTo>
                    <a:pt x="19432" y="472"/>
                    <a:pt x="19461" y="531"/>
                    <a:pt x="19483" y="547"/>
                  </a:cubicBezTo>
                  <a:cubicBezTo>
                    <a:pt x="19525" y="577"/>
                    <a:pt x="19525" y="566"/>
                    <a:pt x="19485" y="850"/>
                  </a:cubicBezTo>
                  <a:cubicBezTo>
                    <a:pt x="19467" y="976"/>
                    <a:pt x="19506" y="1076"/>
                    <a:pt x="19580" y="1091"/>
                  </a:cubicBezTo>
                  <a:cubicBezTo>
                    <a:pt x="19613" y="1097"/>
                    <a:pt x="19650" y="1122"/>
                    <a:pt x="19662" y="1145"/>
                  </a:cubicBezTo>
                  <a:cubicBezTo>
                    <a:pt x="19675" y="1168"/>
                    <a:pt x="19727" y="1234"/>
                    <a:pt x="19778" y="1292"/>
                  </a:cubicBezTo>
                  <a:cubicBezTo>
                    <a:pt x="19892" y="1421"/>
                    <a:pt x="19908" y="1459"/>
                    <a:pt x="19937" y="1684"/>
                  </a:cubicBezTo>
                  <a:lnTo>
                    <a:pt x="19961" y="1863"/>
                  </a:lnTo>
                  <a:lnTo>
                    <a:pt x="20105" y="1770"/>
                  </a:lnTo>
                  <a:cubicBezTo>
                    <a:pt x="20327" y="1627"/>
                    <a:pt x="20362" y="1587"/>
                    <a:pt x="20362" y="1473"/>
                  </a:cubicBezTo>
                  <a:cubicBezTo>
                    <a:pt x="20362" y="1387"/>
                    <a:pt x="20355" y="1373"/>
                    <a:pt x="20303" y="1348"/>
                  </a:cubicBezTo>
                  <a:cubicBezTo>
                    <a:pt x="20215" y="1305"/>
                    <a:pt x="20071" y="1168"/>
                    <a:pt x="20072" y="1129"/>
                  </a:cubicBezTo>
                  <a:cubicBezTo>
                    <a:pt x="20074" y="1061"/>
                    <a:pt x="20073" y="1031"/>
                    <a:pt x="20061" y="936"/>
                  </a:cubicBezTo>
                  <a:cubicBezTo>
                    <a:pt x="20039" y="755"/>
                    <a:pt x="20126" y="612"/>
                    <a:pt x="20330" y="496"/>
                  </a:cubicBezTo>
                  <a:cubicBezTo>
                    <a:pt x="20479" y="410"/>
                    <a:pt x="20636" y="412"/>
                    <a:pt x="20745" y="499"/>
                  </a:cubicBezTo>
                  <a:cubicBezTo>
                    <a:pt x="20789" y="534"/>
                    <a:pt x="20846" y="601"/>
                    <a:pt x="20871" y="647"/>
                  </a:cubicBezTo>
                  <a:cubicBezTo>
                    <a:pt x="20923" y="739"/>
                    <a:pt x="20979" y="931"/>
                    <a:pt x="20979" y="1015"/>
                  </a:cubicBezTo>
                  <a:cubicBezTo>
                    <a:pt x="20979" y="1089"/>
                    <a:pt x="20901" y="1218"/>
                    <a:pt x="20837" y="1250"/>
                  </a:cubicBezTo>
                  <a:cubicBezTo>
                    <a:pt x="20725" y="1306"/>
                    <a:pt x="20693" y="1349"/>
                    <a:pt x="20705" y="1430"/>
                  </a:cubicBezTo>
                  <a:cubicBezTo>
                    <a:pt x="20719" y="1529"/>
                    <a:pt x="20786" y="1587"/>
                    <a:pt x="20920" y="1618"/>
                  </a:cubicBezTo>
                  <a:cubicBezTo>
                    <a:pt x="21170" y="1675"/>
                    <a:pt x="21180" y="1679"/>
                    <a:pt x="21242" y="1763"/>
                  </a:cubicBezTo>
                  <a:lnTo>
                    <a:pt x="21303" y="1845"/>
                  </a:lnTo>
                  <a:lnTo>
                    <a:pt x="21378" y="1686"/>
                  </a:lnTo>
                  <a:cubicBezTo>
                    <a:pt x="21469" y="1495"/>
                    <a:pt x="21495" y="1464"/>
                    <a:pt x="21616" y="1402"/>
                  </a:cubicBezTo>
                  <a:cubicBezTo>
                    <a:pt x="21667" y="1376"/>
                    <a:pt x="21727" y="1340"/>
                    <a:pt x="21750" y="1323"/>
                  </a:cubicBezTo>
                  <a:cubicBezTo>
                    <a:pt x="21790" y="1293"/>
                    <a:pt x="21790" y="1292"/>
                    <a:pt x="21735" y="1249"/>
                  </a:cubicBezTo>
                  <a:cubicBezTo>
                    <a:pt x="21659" y="1189"/>
                    <a:pt x="21629" y="1071"/>
                    <a:pt x="21631" y="835"/>
                  </a:cubicBezTo>
                  <a:cubicBezTo>
                    <a:pt x="21632" y="618"/>
                    <a:pt x="21670" y="508"/>
                    <a:pt x="21771" y="429"/>
                  </a:cubicBezTo>
                  <a:cubicBezTo>
                    <a:pt x="21839" y="375"/>
                    <a:pt x="22023" y="337"/>
                    <a:pt x="22124" y="356"/>
                  </a:cubicBezTo>
                  <a:cubicBezTo>
                    <a:pt x="22283" y="385"/>
                    <a:pt x="22397" y="535"/>
                    <a:pt x="22397" y="713"/>
                  </a:cubicBezTo>
                  <a:cubicBezTo>
                    <a:pt x="22397" y="757"/>
                    <a:pt x="22408" y="800"/>
                    <a:pt x="22420" y="807"/>
                  </a:cubicBezTo>
                  <a:cubicBezTo>
                    <a:pt x="22463" y="834"/>
                    <a:pt x="22429" y="1013"/>
                    <a:pt x="22369" y="1085"/>
                  </a:cubicBezTo>
                  <a:cubicBezTo>
                    <a:pt x="22273" y="1199"/>
                    <a:pt x="22295" y="1234"/>
                    <a:pt x="22536" y="1349"/>
                  </a:cubicBezTo>
                  <a:cubicBezTo>
                    <a:pt x="22782" y="1466"/>
                    <a:pt x="22954" y="1589"/>
                    <a:pt x="23022" y="1696"/>
                  </a:cubicBezTo>
                  <a:cubicBezTo>
                    <a:pt x="23181" y="1950"/>
                    <a:pt x="23326" y="2789"/>
                    <a:pt x="23240" y="2959"/>
                  </a:cubicBezTo>
                  <a:cubicBezTo>
                    <a:pt x="23226" y="2985"/>
                    <a:pt x="23163" y="3057"/>
                    <a:pt x="23098" y="3119"/>
                  </a:cubicBezTo>
                  <a:lnTo>
                    <a:pt x="22980" y="3232"/>
                  </a:lnTo>
                  <a:lnTo>
                    <a:pt x="22956" y="3674"/>
                  </a:lnTo>
                  <a:cubicBezTo>
                    <a:pt x="22943" y="3918"/>
                    <a:pt x="22925" y="4144"/>
                    <a:pt x="22916" y="4178"/>
                  </a:cubicBezTo>
                  <a:cubicBezTo>
                    <a:pt x="22904" y="4223"/>
                    <a:pt x="22873" y="4254"/>
                    <a:pt x="22804" y="4291"/>
                  </a:cubicBezTo>
                  <a:cubicBezTo>
                    <a:pt x="22716" y="4338"/>
                    <a:pt x="22705" y="4353"/>
                    <a:pt x="22657" y="4492"/>
                  </a:cubicBezTo>
                  <a:lnTo>
                    <a:pt x="22606" y="4642"/>
                  </a:lnTo>
                  <a:lnTo>
                    <a:pt x="22669" y="4780"/>
                  </a:lnTo>
                  <a:cubicBezTo>
                    <a:pt x="22704" y="4856"/>
                    <a:pt x="22810" y="5080"/>
                    <a:pt x="22906" y="5278"/>
                  </a:cubicBezTo>
                  <a:cubicBezTo>
                    <a:pt x="23002" y="5476"/>
                    <a:pt x="23108" y="5712"/>
                    <a:pt x="23142" y="5802"/>
                  </a:cubicBezTo>
                  <a:cubicBezTo>
                    <a:pt x="23227" y="6034"/>
                    <a:pt x="23345" y="6502"/>
                    <a:pt x="23340" y="6591"/>
                  </a:cubicBezTo>
                  <a:cubicBezTo>
                    <a:pt x="23337" y="6632"/>
                    <a:pt x="23342" y="6696"/>
                    <a:pt x="23351" y="6732"/>
                  </a:cubicBezTo>
                  <a:cubicBezTo>
                    <a:pt x="23366" y="6796"/>
                    <a:pt x="23364" y="6798"/>
                    <a:pt x="23278" y="6820"/>
                  </a:cubicBezTo>
                  <a:cubicBezTo>
                    <a:pt x="23229" y="6833"/>
                    <a:pt x="23115" y="6867"/>
                    <a:pt x="23025" y="6896"/>
                  </a:cubicBezTo>
                  <a:cubicBezTo>
                    <a:pt x="22842" y="6954"/>
                    <a:pt x="22596" y="6982"/>
                    <a:pt x="22575" y="6948"/>
                  </a:cubicBezTo>
                  <a:cubicBezTo>
                    <a:pt x="22559" y="6922"/>
                    <a:pt x="22576" y="6906"/>
                    <a:pt x="22716" y="6815"/>
                  </a:cubicBezTo>
                  <a:cubicBezTo>
                    <a:pt x="22813" y="6752"/>
                    <a:pt x="22819" y="6743"/>
                    <a:pt x="22812" y="6671"/>
                  </a:cubicBezTo>
                  <a:cubicBezTo>
                    <a:pt x="22808" y="6626"/>
                    <a:pt x="22815" y="6594"/>
                    <a:pt x="22828" y="6594"/>
                  </a:cubicBezTo>
                  <a:cubicBezTo>
                    <a:pt x="22840" y="6594"/>
                    <a:pt x="22850" y="6580"/>
                    <a:pt x="22850" y="6563"/>
                  </a:cubicBezTo>
                  <a:cubicBezTo>
                    <a:pt x="22850" y="6546"/>
                    <a:pt x="22842" y="6532"/>
                    <a:pt x="22832" y="6532"/>
                  </a:cubicBezTo>
                  <a:cubicBezTo>
                    <a:pt x="22822" y="6532"/>
                    <a:pt x="22791" y="6509"/>
                    <a:pt x="22763" y="6481"/>
                  </a:cubicBezTo>
                  <a:cubicBezTo>
                    <a:pt x="22726" y="6444"/>
                    <a:pt x="22708" y="6398"/>
                    <a:pt x="22698" y="6314"/>
                  </a:cubicBezTo>
                  <a:cubicBezTo>
                    <a:pt x="22688" y="6229"/>
                    <a:pt x="22646" y="6122"/>
                    <a:pt x="22544" y="5918"/>
                  </a:cubicBezTo>
                  <a:cubicBezTo>
                    <a:pt x="22321" y="5474"/>
                    <a:pt x="22244" y="5342"/>
                    <a:pt x="22208" y="5341"/>
                  </a:cubicBezTo>
                  <a:cubicBezTo>
                    <a:pt x="22172" y="5339"/>
                    <a:pt x="21966" y="5862"/>
                    <a:pt x="21966" y="5954"/>
                  </a:cubicBezTo>
                  <a:cubicBezTo>
                    <a:pt x="21966" y="5977"/>
                    <a:pt x="21957" y="6017"/>
                    <a:pt x="21947" y="6043"/>
                  </a:cubicBezTo>
                  <a:cubicBezTo>
                    <a:pt x="21936" y="6069"/>
                    <a:pt x="21903" y="6229"/>
                    <a:pt x="21873" y="6399"/>
                  </a:cubicBezTo>
                  <a:cubicBezTo>
                    <a:pt x="21811" y="6746"/>
                    <a:pt x="21795" y="6800"/>
                    <a:pt x="21751" y="6800"/>
                  </a:cubicBezTo>
                  <a:cubicBezTo>
                    <a:pt x="21719" y="6800"/>
                    <a:pt x="21704" y="6841"/>
                    <a:pt x="21694" y="6954"/>
                  </a:cubicBezTo>
                  <a:cubicBezTo>
                    <a:pt x="21689" y="7011"/>
                    <a:pt x="21680" y="7017"/>
                    <a:pt x="21585" y="7034"/>
                  </a:cubicBezTo>
                  <a:cubicBezTo>
                    <a:pt x="21529" y="7044"/>
                    <a:pt x="21410" y="7074"/>
                    <a:pt x="21322" y="7101"/>
                  </a:cubicBezTo>
                  <a:cubicBezTo>
                    <a:pt x="21123" y="7161"/>
                    <a:pt x="20910" y="7168"/>
                    <a:pt x="20921" y="7114"/>
                  </a:cubicBezTo>
                  <a:cubicBezTo>
                    <a:pt x="20925" y="7094"/>
                    <a:pt x="21008" y="7025"/>
                    <a:pt x="21107" y="6960"/>
                  </a:cubicBezTo>
                  <a:cubicBezTo>
                    <a:pt x="21289" y="6839"/>
                    <a:pt x="21323" y="6793"/>
                    <a:pt x="21243" y="6773"/>
                  </a:cubicBezTo>
                  <a:cubicBezTo>
                    <a:pt x="21209" y="6764"/>
                    <a:pt x="21202" y="6751"/>
                    <a:pt x="21213" y="6714"/>
                  </a:cubicBezTo>
                  <a:cubicBezTo>
                    <a:pt x="21261" y="6541"/>
                    <a:pt x="21402" y="5748"/>
                    <a:pt x="21440" y="5437"/>
                  </a:cubicBezTo>
                  <a:cubicBezTo>
                    <a:pt x="21446" y="5394"/>
                    <a:pt x="21487" y="5251"/>
                    <a:pt x="21532" y="5118"/>
                  </a:cubicBezTo>
                  <a:cubicBezTo>
                    <a:pt x="21648" y="4779"/>
                    <a:pt x="21741" y="4418"/>
                    <a:pt x="21716" y="4403"/>
                  </a:cubicBezTo>
                  <a:cubicBezTo>
                    <a:pt x="21705" y="4396"/>
                    <a:pt x="21674" y="4396"/>
                    <a:pt x="21647" y="4402"/>
                  </a:cubicBezTo>
                  <a:cubicBezTo>
                    <a:pt x="21620" y="4409"/>
                    <a:pt x="21593" y="4406"/>
                    <a:pt x="21586" y="4395"/>
                  </a:cubicBezTo>
                  <a:cubicBezTo>
                    <a:pt x="21572" y="4373"/>
                    <a:pt x="21508" y="4010"/>
                    <a:pt x="21472" y="3746"/>
                  </a:cubicBezTo>
                  <a:cubicBezTo>
                    <a:pt x="21432" y="3457"/>
                    <a:pt x="21426" y="3441"/>
                    <a:pt x="21356" y="3417"/>
                  </a:cubicBezTo>
                  <a:cubicBezTo>
                    <a:pt x="21264" y="3387"/>
                    <a:pt x="21225" y="3348"/>
                    <a:pt x="21225" y="3285"/>
                  </a:cubicBezTo>
                  <a:cubicBezTo>
                    <a:pt x="21225" y="3254"/>
                    <a:pt x="21220" y="3224"/>
                    <a:pt x="21214" y="3217"/>
                  </a:cubicBezTo>
                  <a:cubicBezTo>
                    <a:pt x="21207" y="3211"/>
                    <a:pt x="21147" y="3230"/>
                    <a:pt x="21079" y="3260"/>
                  </a:cubicBezTo>
                  <a:cubicBezTo>
                    <a:pt x="20980" y="3304"/>
                    <a:pt x="20959" y="3322"/>
                    <a:pt x="20966" y="3356"/>
                  </a:cubicBezTo>
                  <a:cubicBezTo>
                    <a:pt x="20971" y="3378"/>
                    <a:pt x="20994" y="3471"/>
                    <a:pt x="21016" y="3561"/>
                  </a:cubicBezTo>
                  <a:cubicBezTo>
                    <a:pt x="21039" y="3652"/>
                    <a:pt x="21068" y="3781"/>
                    <a:pt x="21080" y="3849"/>
                  </a:cubicBezTo>
                  <a:cubicBezTo>
                    <a:pt x="21103" y="3972"/>
                    <a:pt x="21171" y="4757"/>
                    <a:pt x="21193" y="5139"/>
                  </a:cubicBezTo>
                  <a:lnTo>
                    <a:pt x="21204" y="5340"/>
                  </a:lnTo>
                  <a:lnTo>
                    <a:pt x="21123" y="5381"/>
                  </a:lnTo>
                  <a:cubicBezTo>
                    <a:pt x="21079" y="5403"/>
                    <a:pt x="20980" y="5439"/>
                    <a:pt x="20904" y="5460"/>
                  </a:cubicBezTo>
                  <a:lnTo>
                    <a:pt x="20764" y="5498"/>
                  </a:lnTo>
                  <a:lnTo>
                    <a:pt x="20717" y="5743"/>
                  </a:lnTo>
                  <a:cubicBezTo>
                    <a:pt x="20626" y="6221"/>
                    <a:pt x="20591" y="6484"/>
                    <a:pt x="20608" y="6562"/>
                  </a:cubicBezTo>
                  <a:cubicBezTo>
                    <a:pt x="20618" y="6607"/>
                    <a:pt x="20663" y="6677"/>
                    <a:pt x="20717" y="6735"/>
                  </a:cubicBezTo>
                  <a:cubicBezTo>
                    <a:pt x="20813" y="6838"/>
                    <a:pt x="20851" y="6915"/>
                    <a:pt x="20821" y="6944"/>
                  </a:cubicBezTo>
                  <a:cubicBezTo>
                    <a:pt x="20812" y="6953"/>
                    <a:pt x="20753" y="6964"/>
                    <a:pt x="20692" y="6968"/>
                  </a:cubicBezTo>
                  <a:cubicBezTo>
                    <a:pt x="20580" y="6975"/>
                    <a:pt x="20579" y="6975"/>
                    <a:pt x="20555" y="7057"/>
                  </a:cubicBezTo>
                  <a:cubicBezTo>
                    <a:pt x="20519" y="7178"/>
                    <a:pt x="20473" y="7257"/>
                    <a:pt x="20419" y="7286"/>
                  </a:cubicBezTo>
                  <a:cubicBezTo>
                    <a:pt x="20344" y="7328"/>
                    <a:pt x="20301" y="7319"/>
                    <a:pt x="20277" y="7257"/>
                  </a:cubicBezTo>
                  <a:close/>
                  <a:moveTo>
                    <a:pt x="18892" y="6871"/>
                  </a:moveTo>
                  <a:lnTo>
                    <a:pt x="18953" y="6821"/>
                  </a:lnTo>
                  <a:lnTo>
                    <a:pt x="18866" y="6820"/>
                  </a:lnTo>
                  <a:cubicBezTo>
                    <a:pt x="18786" y="6820"/>
                    <a:pt x="18778" y="6825"/>
                    <a:pt x="18778" y="6872"/>
                  </a:cubicBezTo>
                  <a:cubicBezTo>
                    <a:pt x="18778" y="6936"/>
                    <a:pt x="18812" y="6936"/>
                    <a:pt x="18892" y="6871"/>
                  </a:cubicBezTo>
                  <a:close/>
                  <a:moveTo>
                    <a:pt x="18763" y="6557"/>
                  </a:moveTo>
                  <a:cubicBezTo>
                    <a:pt x="18783" y="6540"/>
                    <a:pt x="18799" y="6508"/>
                    <a:pt x="18799" y="6485"/>
                  </a:cubicBezTo>
                  <a:cubicBezTo>
                    <a:pt x="18799" y="6462"/>
                    <a:pt x="18838" y="6408"/>
                    <a:pt x="18885" y="6364"/>
                  </a:cubicBezTo>
                  <a:lnTo>
                    <a:pt x="18971" y="6285"/>
                  </a:lnTo>
                  <a:lnTo>
                    <a:pt x="18903" y="6228"/>
                  </a:lnTo>
                  <a:cubicBezTo>
                    <a:pt x="18826" y="6164"/>
                    <a:pt x="18828" y="6172"/>
                    <a:pt x="18799" y="5700"/>
                  </a:cubicBezTo>
                  <a:cubicBezTo>
                    <a:pt x="18790" y="5541"/>
                    <a:pt x="18767" y="5333"/>
                    <a:pt x="18749" y="5237"/>
                  </a:cubicBezTo>
                  <a:cubicBezTo>
                    <a:pt x="18731" y="5141"/>
                    <a:pt x="18707" y="4928"/>
                    <a:pt x="18695" y="4764"/>
                  </a:cubicBezTo>
                  <a:cubicBezTo>
                    <a:pt x="18683" y="4600"/>
                    <a:pt x="18667" y="4378"/>
                    <a:pt x="18659" y="4271"/>
                  </a:cubicBezTo>
                  <a:lnTo>
                    <a:pt x="18645" y="4076"/>
                  </a:lnTo>
                  <a:lnTo>
                    <a:pt x="18549" y="4030"/>
                  </a:lnTo>
                  <a:cubicBezTo>
                    <a:pt x="18420" y="3969"/>
                    <a:pt x="18388" y="3918"/>
                    <a:pt x="18388" y="3774"/>
                  </a:cubicBezTo>
                  <a:cubicBezTo>
                    <a:pt x="18388" y="3709"/>
                    <a:pt x="18380" y="3652"/>
                    <a:pt x="18371" y="3646"/>
                  </a:cubicBezTo>
                  <a:cubicBezTo>
                    <a:pt x="18361" y="3640"/>
                    <a:pt x="18320" y="3668"/>
                    <a:pt x="18278" y="3709"/>
                  </a:cubicBezTo>
                  <a:cubicBezTo>
                    <a:pt x="18203" y="3782"/>
                    <a:pt x="18202" y="3784"/>
                    <a:pt x="18212" y="3919"/>
                  </a:cubicBezTo>
                  <a:cubicBezTo>
                    <a:pt x="18217" y="3994"/>
                    <a:pt x="18227" y="4166"/>
                    <a:pt x="18234" y="4302"/>
                  </a:cubicBezTo>
                  <a:cubicBezTo>
                    <a:pt x="18248" y="4585"/>
                    <a:pt x="18286" y="4822"/>
                    <a:pt x="18358" y="5076"/>
                  </a:cubicBezTo>
                  <a:cubicBezTo>
                    <a:pt x="18385" y="5174"/>
                    <a:pt x="18412" y="5315"/>
                    <a:pt x="18417" y="5388"/>
                  </a:cubicBezTo>
                  <a:cubicBezTo>
                    <a:pt x="18421" y="5461"/>
                    <a:pt x="18434" y="5552"/>
                    <a:pt x="18446" y="5590"/>
                  </a:cubicBezTo>
                  <a:cubicBezTo>
                    <a:pt x="18506" y="5787"/>
                    <a:pt x="18676" y="6539"/>
                    <a:pt x="18676" y="6609"/>
                  </a:cubicBezTo>
                  <a:cubicBezTo>
                    <a:pt x="18676" y="6620"/>
                    <a:pt x="18720" y="6594"/>
                    <a:pt x="18763" y="6557"/>
                  </a:cubicBezTo>
                  <a:close/>
                  <a:moveTo>
                    <a:pt x="19590" y="4934"/>
                  </a:moveTo>
                  <a:cubicBezTo>
                    <a:pt x="19596" y="4869"/>
                    <a:pt x="19611" y="4769"/>
                    <a:pt x="19621" y="4713"/>
                  </a:cubicBezTo>
                  <a:cubicBezTo>
                    <a:pt x="19668" y="4467"/>
                    <a:pt x="19726" y="4101"/>
                    <a:pt x="19718" y="4093"/>
                  </a:cubicBezTo>
                  <a:cubicBezTo>
                    <a:pt x="19714" y="4089"/>
                    <a:pt x="19654" y="4092"/>
                    <a:pt x="19584" y="4099"/>
                  </a:cubicBezTo>
                  <a:lnTo>
                    <a:pt x="19457" y="4112"/>
                  </a:lnTo>
                  <a:lnTo>
                    <a:pt x="19457" y="4211"/>
                  </a:lnTo>
                  <a:cubicBezTo>
                    <a:pt x="19457" y="4265"/>
                    <a:pt x="19466" y="4354"/>
                    <a:pt x="19476" y="4408"/>
                  </a:cubicBezTo>
                  <a:cubicBezTo>
                    <a:pt x="19487" y="4463"/>
                    <a:pt x="19507" y="4630"/>
                    <a:pt x="19520" y="4780"/>
                  </a:cubicBezTo>
                  <a:cubicBezTo>
                    <a:pt x="19533" y="4929"/>
                    <a:pt x="19552" y="5052"/>
                    <a:pt x="19561" y="5052"/>
                  </a:cubicBezTo>
                  <a:cubicBezTo>
                    <a:pt x="19570" y="5052"/>
                    <a:pt x="19583" y="4999"/>
                    <a:pt x="19590" y="4934"/>
                  </a:cubicBezTo>
                  <a:close/>
                  <a:moveTo>
                    <a:pt x="19829" y="3661"/>
                  </a:moveTo>
                  <a:cubicBezTo>
                    <a:pt x="19876" y="3462"/>
                    <a:pt x="19879" y="3359"/>
                    <a:pt x="19839" y="3326"/>
                  </a:cubicBezTo>
                  <a:cubicBezTo>
                    <a:pt x="19777" y="3275"/>
                    <a:pt x="19780" y="3190"/>
                    <a:pt x="19851" y="3033"/>
                  </a:cubicBezTo>
                  <a:cubicBezTo>
                    <a:pt x="19909" y="2904"/>
                    <a:pt x="19919" y="2858"/>
                    <a:pt x="19921" y="2708"/>
                  </a:cubicBezTo>
                  <a:cubicBezTo>
                    <a:pt x="19925" y="2447"/>
                    <a:pt x="19904" y="2420"/>
                    <a:pt x="19851" y="2618"/>
                  </a:cubicBezTo>
                  <a:cubicBezTo>
                    <a:pt x="19826" y="2710"/>
                    <a:pt x="19783" y="2853"/>
                    <a:pt x="19754" y="2936"/>
                  </a:cubicBezTo>
                  <a:cubicBezTo>
                    <a:pt x="19682" y="3146"/>
                    <a:pt x="19670" y="3346"/>
                    <a:pt x="19712" y="3623"/>
                  </a:cubicBezTo>
                  <a:cubicBezTo>
                    <a:pt x="19751" y="3877"/>
                    <a:pt x="19767" y="3934"/>
                    <a:pt x="19781" y="3870"/>
                  </a:cubicBezTo>
                  <a:cubicBezTo>
                    <a:pt x="19785" y="3847"/>
                    <a:pt x="19807" y="3753"/>
                    <a:pt x="19829" y="3661"/>
                  </a:cubicBezTo>
                  <a:close/>
                  <a:moveTo>
                    <a:pt x="16981" y="3207"/>
                  </a:moveTo>
                  <a:cubicBezTo>
                    <a:pt x="16968" y="3193"/>
                    <a:pt x="16935" y="3263"/>
                    <a:pt x="16901" y="3380"/>
                  </a:cubicBezTo>
                  <a:cubicBezTo>
                    <a:pt x="16877" y="3460"/>
                    <a:pt x="16875" y="3489"/>
                    <a:pt x="16893" y="3495"/>
                  </a:cubicBezTo>
                  <a:cubicBezTo>
                    <a:pt x="16916" y="3503"/>
                    <a:pt x="17000" y="3226"/>
                    <a:pt x="16981" y="3207"/>
                  </a:cubicBezTo>
                  <a:close/>
                  <a:moveTo>
                    <a:pt x="18253" y="3224"/>
                  </a:moveTo>
                  <a:cubicBezTo>
                    <a:pt x="18293" y="3157"/>
                    <a:pt x="18345" y="3060"/>
                    <a:pt x="18369" y="3008"/>
                  </a:cubicBezTo>
                  <a:cubicBezTo>
                    <a:pt x="18409" y="2917"/>
                    <a:pt x="18409" y="2908"/>
                    <a:pt x="18378" y="2786"/>
                  </a:cubicBezTo>
                  <a:cubicBezTo>
                    <a:pt x="18339" y="2634"/>
                    <a:pt x="18334" y="2627"/>
                    <a:pt x="18308" y="2690"/>
                  </a:cubicBezTo>
                  <a:cubicBezTo>
                    <a:pt x="18297" y="2717"/>
                    <a:pt x="18255" y="2814"/>
                    <a:pt x="18214" y="2906"/>
                  </a:cubicBezTo>
                  <a:cubicBezTo>
                    <a:pt x="18154" y="3042"/>
                    <a:pt x="18141" y="3098"/>
                    <a:pt x="18141" y="3209"/>
                  </a:cubicBezTo>
                  <a:cubicBezTo>
                    <a:pt x="18141" y="3284"/>
                    <a:pt x="18150" y="3346"/>
                    <a:pt x="18160" y="3346"/>
                  </a:cubicBezTo>
                  <a:cubicBezTo>
                    <a:pt x="18171" y="3346"/>
                    <a:pt x="18212" y="3291"/>
                    <a:pt x="18253" y="3224"/>
                  </a:cubicBezTo>
                  <a:close/>
                  <a:moveTo>
                    <a:pt x="21096" y="2865"/>
                  </a:moveTo>
                  <a:cubicBezTo>
                    <a:pt x="21113" y="2849"/>
                    <a:pt x="21117" y="2803"/>
                    <a:pt x="21108" y="2722"/>
                  </a:cubicBezTo>
                  <a:cubicBezTo>
                    <a:pt x="21102" y="2657"/>
                    <a:pt x="21089" y="2610"/>
                    <a:pt x="21081" y="2620"/>
                  </a:cubicBezTo>
                  <a:cubicBezTo>
                    <a:pt x="21073" y="2629"/>
                    <a:pt x="21048" y="2699"/>
                    <a:pt x="21025" y="2776"/>
                  </a:cubicBezTo>
                  <a:lnTo>
                    <a:pt x="20983" y="2915"/>
                  </a:lnTo>
                  <a:lnTo>
                    <a:pt x="21027" y="2902"/>
                  </a:lnTo>
                  <a:cubicBezTo>
                    <a:pt x="21051" y="2895"/>
                    <a:pt x="21082" y="2878"/>
                    <a:pt x="21096" y="2865"/>
                  </a:cubicBez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reeform 190">
              <a:extLst>
                <a:ext uri="{FF2B5EF4-FFF2-40B4-BE49-F238E27FC236}">
                  <a16:creationId xmlns:a16="http://schemas.microsoft.com/office/drawing/2014/main" id="{41BC768E-ECF1-4C47-AD01-5E281D093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8" y="2183"/>
              <a:ext cx="616" cy="1985"/>
            </a:xfrm>
            <a:custGeom>
              <a:avLst/>
              <a:gdLst>
                <a:gd name="T0" fmla="*/ 956 w 2254"/>
                <a:gd name="T1" fmla="*/ 41 h 7254"/>
                <a:gd name="T2" fmla="*/ 856 w 2254"/>
                <a:gd name="T3" fmla="*/ 76 h 7254"/>
                <a:gd name="T4" fmla="*/ 714 w 2254"/>
                <a:gd name="T5" fmla="*/ 225 h 7254"/>
                <a:gd name="T6" fmla="*/ 722 w 2254"/>
                <a:gd name="T7" fmla="*/ 615 h 7254"/>
                <a:gd name="T8" fmla="*/ 783 w 2254"/>
                <a:gd name="T9" fmla="*/ 794 h 7254"/>
                <a:gd name="T10" fmla="*/ 831 w 2254"/>
                <a:gd name="T11" fmla="*/ 870 h 7254"/>
                <a:gd name="T12" fmla="*/ 847 w 2254"/>
                <a:gd name="T13" fmla="*/ 965 h 7254"/>
                <a:gd name="T14" fmla="*/ 790 w 2254"/>
                <a:gd name="T15" fmla="*/ 1106 h 7254"/>
                <a:gd name="T16" fmla="*/ 687 w 2254"/>
                <a:gd name="T17" fmla="*/ 1235 h 7254"/>
                <a:gd name="T18" fmla="*/ 145 w 2254"/>
                <a:gd name="T19" fmla="*/ 1503 h 7254"/>
                <a:gd name="T20" fmla="*/ 45 w 2254"/>
                <a:gd name="T21" fmla="*/ 2005 h 7254"/>
                <a:gd name="T22" fmla="*/ 27 w 2254"/>
                <a:gd name="T23" fmla="*/ 2845 h 7254"/>
                <a:gd name="T24" fmla="*/ 133 w 2254"/>
                <a:gd name="T25" fmla="*/ 3588 h 7254"/>
                <a:gd name="T26" fmla="*/ 238 w 2254"/>
                <a:gd name="T27" fmla="*/ 3766 h 7254"/>
                <a:gd name="T28" fmla="*/ 210 w 2254"/>
                <a:gd name="T29" fmla="*/ 3943 h 7254"/>
                <a:gd name="T30" fmla="*/ 239 w 2254"/>
                <a:gd name="T31" fmla="*/ 4089 h 7254"/>
                <a:gd name="T32" fmla="*/ 375 w 2254"/>
                <a:gd name="T33" fmla="*/ 4680 h 7254"/>
                <a:gd name="T34" fmla="*/ 482 w 2254"/>
                <a:gd name="T35" fmla="*/ 5286 h 7254"/>
                <a:gd name="T36" fmla="*/ 543 w 2254"/>
                <a:gd name="T37" fmla="*/ 6260 h 7254"/>
                <a:gd name="T38" fmla="*/ 574 w 2254"/>
                <a:gd name="T39" fmla="*/ 6815 h 7254"/>
                <a:gd name="T40" fmla="*/ 742 w 2254"/>
                <a:gd name="T41" fmla="*/ 6892 h 7254"/>
                <a:gd name="T42" fmla="*/ 636 w 2254"/>
                <a:gd name="T43" fmla="*/ 7133 h 7254"/>
                <a:gd name="T44" fmla="*/ 689 w 2254"/>
                <a:gd name="T45" fmla="*/ 7244 h 7254"/>
                <a:gd name="T46" fmla="*/ 988 w 2254"/>
                <a:gd name="T47" fmla="*/ 7225 h 7254"/>
                <a:gd name="T48" fmla="*/ 1085 w 2254"/>
                <a:gd name="T49" fmla="*/ 7148 h 7254"/>
                <a:gd name="T50" fmla="*/ 1192 w 2254"/>
                <a:gd name="T51" fmla="*/ 6982 h 7254"/>
                <a:gd name="T52" fmla="*/ 1166 w 2254"/>
                <a:gd name="T53" fmla="*/ 6880 h 7254"/>
                <a:gd name="T54" fmla="*/ 1198 w 2254"/>
                <a:gd name="T55" fmla="*/ 6732 h 7254"/>
                <a:gd name="T56" fmla="*/ 1124 w 2254"/>
                <a:gd name="T57" fmla="*/ 5998 h 7254"/>
                <a:gd name="T58" fmla="*/ 1098 w 2254"/>
                <a:gd name="T59" fmla="*/ 5744 h 7254"/>
                <a:gd name="T60" fmla="*/ 1131 w 2254"/>
                <a:gd name="T61" fmla="*/ 4193 h 7254"/>
                <a:gd name="T62" fmla="*/ 1184 w 2254"/>
                <a:gd name="T63" fmla="*/ 4224 h 7254"/>
                <a:gd name="T64" fmla="*/ 1247 w 2254"/>
                <a:gd name="T65" fmla="*/ 4705 h 7254"/>
                <a:gd name="T66" fmla="*/ 1265 w 2254"/>
                <a:gd name="T67" fmla="*/ 4877 h 7254"/>
                <a:gd name="T68" fmla="*/ 1287 w 2254"/>
                <a:gd name="T69" fmla="*/ 5065 h 7254"/>
                <a:gd name="T70" fmla="*/ 1307 w 2254"/>
                <a:gd name="T71" fmla="*/ 5308 h 7254"/>
                <a:gd name="T72" fmla="*/ 1317 w 2254"/>
                <a:gd name="T73" fmla="*/ 5430 h 7254"/>
                <a:gd name="T74" fmla="*/ 1294 w 2254"/>
                <a:gd name="T75" fmla="*/ 6234 h 7254"/>
                <a:gd name="T76" fmla="*/ 1284 w 2254"/>
                <a:gd name="T77" fmla="*/ 6880 h 7254"/>
                <a:gd name="T78" fmla="*/ 1314 w 2254"/>
                <a:gd name="T79" fmla="*/ 6955 h 7254"/>
                <a:gd name="T80" fmla="*/ 1376 w 2254"/>
                <a:gd name="T81" fmla="*/ 7146 h 7254"/>
                <a:gd name="T82" fmla="*/ 1477 w 2254"/>
                <a:gd name="T83" fmla="*/ 7247 h 7254"/>
                <a:gd name="T84" fmla="*/ 1825 w 2254"/>
                <a:gd name="T85" fmla="*/ 7199 h 7254"/>
                <a:gd name="T86" fmla="*/ 1784 w 2254"/>
                <a:gd name="T87" fmla="*/ 6975 h 7254"/>
                <a:gd name="T88" fmla="*/ 1881 w 2254"/>
                <a:gd name="T89" fmla="*/ 6819 h 7254"/>
                <a:gd name="T90" fmla="*/ 1883 w 2254"/>
                <a:gd name="T91" fmla="*/ 5716 h 7254"/>
                <a:gd name="T92" fmla="*/ 1936 w 2254"/>
                <a:gd name="T93" fmla="*/ 4652 h 7254"/>
                <a:gd name="T94" fmla="*/ 1972 w 2254"/>
                <a:gd name="T95" fmla="*/ 4107 h 7254"/>
                <a:gd name="T96" fmla="*/ 1994 w 2254"/>
                <a:gd name="T97" fmla="*/ 4013 h 7254"/>
                <a:gd name="T98" fmla="*/ 2044 w 2254"/>
                <a:gd name="T99" fmla="*/ 4008 h 7254"/>
                <a:gd name="T100" fmla="*/ 2032 w 2254"/>
                <a:gd name="T101" fmla="*/ 3783 h 7254"/>
                <a:gd name="T102" fmla="*/ 2047 w 2254"/>
                <a:gd name="T103" fmla="*/ 3620 h 7254"/>
                <a:gd name="T104" fmla="*/ 2225 w 2254"/>
                <a:gd name="T105" fmla="*/ 3146 h 7254"/>
                <a:gd name="T106" fmla="*/ 2235 w 2254"/>
                <a:gd name="T107" fmla="*/ 2068 h 7254"/>
                <a:gd name="T108" fmla="*/ 2137 w 2254"/>
                <a:gd name="T109" fmla="*/ 1317 h 7254"/>
                <a:gd name="T110" fmla="*/ 1769 w 2254"/>
                <a:gd name="T111" fmla="*/ 1194 h 7254"/>
                <a:gd name="T112" fmla="*/ 1429 w 2254"/>
                <a:gd name="T113" fmla="*/ 975 h 7254"/>
                <a:gd name="T114" fmla="*/ 1396 w 2254"/>
                <a:gd name="T115" fmla="*/ 841 h 7254"/>
                <a:gd name="T116" fmla="*/ 1478 w 2254"/>
                <a:gd name="T117" fmla="*/ 614 h 7254"/>
                <a:gd name="T118" fmla="*/ 1470 w 2254"/>
                <a:gd name="T119" fmla="*/ 522 h 7254"/>
                <a:gd name="T120" fmla="*/ 1455 w 2254"/>
                <a:gd name="T121" fmla="*/ 409 h 7254"/>
                <a:gd name="T122" fmla="*/ 1293 w 2254"/>
                <a:gd name="T123" fmla="*/ 37 h 7254"/>
                <a:gd name="T124" fmla="*/ 1123 w 2254"/>
                <a:gd name="T125" fmla="*/ 3 h 7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54" h="7254">
                  <a:moveTo>
                    <a:pt x="1089" y="0"/>
                  </a:moveTo>
                  <a:cubicBezTo>
                    <a:pt x="1053" y="1"/>
                    <a:pt x="1009" y="15"/>
                    <a:pt x="956" y="41"/>
                  </a:cubicBezTo>
                  <a:cubicBezTo>
                    <a:pt x="942" y="49"/>
                    <a:pt x="926" y="53"/>
                    <a:pt x="912" y="53"/>
                  </a:cubicBezTo>
                  <a:cubicBezTo>
                    <a:pt x="894" y="53"/>
                    <a:pt x="885" y="56"/>
                    <a:pt x="856" y="76"/>
                  </a:cubicBezTo>
                  <a:cubicBezTo>
                    <a:pt x="838" y="89"/>
                    <a:pt x="799" y="122"/>
                    <a:pt x="772" y="149"/>
                  </a:cubicBezTo>
                  <a:cubicBezTo>
                    <a:pt x="728" y="193"/>
                    <a:pt x="721" y="203"/>
                    <a:pt x="714" y="225"/>
                  </a:cubicBezTo>
                  <a:cubicBezTo>
                    <a:pt x="696" y="281"/>
                    <a:pt x="690" y="451"/>
                    <a:pt x="704" y="487"/>
                  </a:cubicBezTo>
                  <a:cubicBezTo>
                    <a:pt x="711" y="504"/>
                    <a:pt x="714" y="528"/>
                    <a:pt x="722" y="615"/>
                  </a:cubicBezTo>
                  <a:cubicBezTo>
                    <a:pt x="725" y="652"/>
                    <a:pt x="733" y="715"/>
                    <a:pt x="736" y="734"/>
                  </a:cubicBezTo>
                  <a:cubicBezTo>
                    <a:pt x="739" y="752"/>
                    <a:pt x="758" y="776"/>
                    <a:pt x="783" y="794"/>
                  </a:cubicBezTo>
                  <a:cubicBezTo>
                    <a:pt x="797" y="804"/>
                    <a:pt x="805" y="812"/>
                    <a:pt x="808" y="824"/>
                  </a:cubicBezTo>
                  <a:cubicBezTo>
                    <a:pt x="811" y="834"/>
                    <a:pt x="821" y="854"/>
                    <a:pt x="831" y="870"/>
                  </a:cubicBezTo>
                  <a:lnTo>
                    <a:pt x="849" y="899"/>
                  </a:lnTo>
                  <a:lnTo>
                    <a:pt x="847" y="965"/>
                  </a:lnTo>
                  <a:cubicBezTo>
                    <a:pt x="845" y="1001"/>
                    <a:pt x="841" y="1038"/>
                    <a:pt x="838" y="1046"/>
                  </a:cubicBezTo>
                  <a:cubicBezTo>
                    <a:pt x="834" y="1054"/>
                    <a:pt x="813" y="1081"/>
                    <a:pt x="790" y="1106"/>
                  </a:cubicBezTo>
                  <a:cubicBezTo>
                    <a:pt x="767" y="1132"/>
                    <a:pt x="738" y="1168"/>
                    <a:pt x="726" y="1188"/>
                  </a:cubicBezTo>
                  <a:cubicBezTo>
                    <a:pt x="712" y="1211"/>
                    <a:pt x="698" y="1228"/>
                    <a:pt x="687" y="1235"/>
                  </a:cubicBezTo>
                  <a:cubicBezTo>
                    <a:pt x="659" y="1253"/>
                    <a:pt x="436" y="1347"/>
                    <a:pt x="303" y="1396"/>
                  </a:cubicBezTo>
                  <a:cubicBezTo>
                    <a:pt x="198" y="1436"/>
                    <a:pt x="170" y="1454"/>
                    <a:pt x="145" y="1503"/>
                  </a:cubicBezTo>
                  <a:cubicBezTo>
                    <a:pt x="114" y="1565"/>
                    <a:pt x="100" y="1632"/>
                    <a:pt x="64" y="1877"/>
                  </a:cubicBezTo>
                  <a:cubicBezTo>
                    <a:pt x="59" y="1913"/>
                    <a:pt x="50" y="1970"/>
                    <a:pt x="45" y="2005"/>
                  </a:cubicBezTo>
                  <a:cubicBezTo>
                    <a:pt x="0" y="2311"/>
                    <a:pt x="2" y="2286"/>
                    <a:pt x="5" y="2465"/>
                  </a:cubicBezTo>
                  <a:cubicBezTo>
                    <a:pt x="8" y="2626"/>
                    <a:pt x="18" y="2799"/>
                    <a:pt x="27" y="2845"/>
                  </a:cubicBezTo>
                  <a:cubicBezTo>
                    <a:pt x="31" y="2869"/>
                    <a:pt x="40" y="2976"/>
                    <a:pt x="64" y="3292"/>
                  </a:cubicBezTo>
                  <a:cubicBezTo>
                    <a:pt x="80" y="3492"/>
                    <a:pt x="78" y="3488"/>
                    <a:pt x="133" y="3588"/>
                  </a:cubicBezTo>
                  <a:cubicBezTo>
                    <a:pt x="181" y="3676"/>
                    <a:pt x="216" y="3731"/>
                    <a:pt x="231" y="3745"/>
                  </a:cubicBezTo>
                  <a:cubicBezTo>
                    <a:pt x="237" y="3751"/>
                    <a:pt x="239" y="3757"/>
                    <a:pt x="238" y="3766"/>
                  </a:cubicBezTo>
                  <a:cubicBezTo>
                    <a:pt x="237" y="3772"/>
                    <a:pt x="232" y="3806"/>
                    <a:pt x="227" y="3841"/>
                  </a:cubicBezTo>
                  <a:cubicBezTo>
                    <a:pt x="221" y="3875"/>
                    <a:pt x="214" y="3921"/>
                    <a:pt x="210" y="3943"/>
                  </a:cubicBezTo>
                  <a:cubicBezTo>
                    <a:pt x="200" y="4005"/>
                    <a:pt x="194" y="4062"/>
                    <a:pt x="197" y="4070"/>
                  </a:cubicBezTo>
                  <a:cubicBezTo>
                    <a:pt x="200" y="4078"/>
                    <a:pt x="215" y="4085"/>
                    <a:pt x="239" y="4089"/>
                  </a:cubicBezTo>
                  <a:cubicBezTo>
                    <a:pt x="256" y="4093"/>
                    <a:pt x="256" y="4091"/>
                    <a:pt x="268" y="4159"/>
                  </a:cubicBezTo>
                  <a:cubicBezTo>
                    <a:pt x="317" y="4427"/>
                    <a:pt x="353" y="4601"/>
                    <a:pt x="375" y="4680"/>
                  </a:cubicBezTo>
                  <a:cubicBezTo>
                    <a:pt x="396" y="4751"/>
                    <a:pt x="449" y="4978"/>
                    <a:pt x="459" y="5033"/>
                  </a:cubicBezTo>
                  <a:cubicBezTo>
                    <a:pt x="462" y="5049"/>
                    <a:pt x="472" y="5162"/>
                    <a:pt x="482" y="5286"/>
                  </a:cubicBezTo>
                  <a:cubicBezTo>
                    <a:pt x="507" y="5596"/>
                    <a:pt x="509" y="5622"/>
                    <a:pt x="519" y="5825"/>
                  </a:cubicBezTo>
                  <a:cubicBezTo>
                    <a:pt x="525" y="5924"/>
                    <a:pt x="535" y="6120"/>
                    <a:pt x="543" y="6260"/>
                  </a:cubicBezTo>
                  <a:cubicBezTo>
                    <a:pt x="551" y="6401"/>
                    <a:pt x="560" y="6579"/>
                    <a:pt x="564" y="6657"/>
                  </a:cubicBezTo>
                  <a:cubicBezTo>
                    <a:pt x="568" y="6735"/>
                    <a:pt x="573" y="6806"/>
                    <a:pt x="574" y="6815"/>
                  </a:cubicBezTo>
                  <a:cubicBezTo>
                    <a:pt x="579" y="6852"/>
                    <a:pt x="631" y="6880"/>
                    <a:pt x="702" y="6884"/>
                  </a:cubicBezTo>
                  <a:cubicBezTo>
                    <a:pt x="722" y="6885"/>
                    <a:pt x="740" y="6889"/>
                    <a:pt x="742" y="6892"/>
                  </a:cubicBezTo>
                  <a:cubicBezTo>
                    <a:pt x="747" y="6898"/>
                    <a:pt x="705" y="6985"/>
                    <a:pt x="660" y="7064"/>
                  </a:cubicBezTo>
                  <a:cubicBezTo>
                    <a:pt x="638" y="7101"/>
                    <a:pt x="636" y="7108"/>
                    <a:pt x="636" y="7133"/>
                  </a:cubicBezTo>
                  <a:cubicBezTo>
                    <a:pt x="636" y="7176"/>
                    <a:pt x="647" y="7208"/>
                    <a:pt x="669" y="7227"/>
                  </a:cubicBezTo>
                  <a:lnTo>
                    <a:pt x="689" y="7244"/>
                  </a:lnTo>
                  <a:lnTo>
                    <a:pt x="806" y="7242"/>
                  </a:lnTo>
                  <a:cubicBezTo>
                    <a:pt x="916" y="7240"/>
                    <a:pt x="925" y="7239"/>
                    <a:pt x="988" y="7225"/>
                  </a:cubicBezTo>
                  <a:cubicBezTo>
                    <a:pt x="1025" y="7217"/>
                    <a:pt x="1059" y="7209"/>
                    <a:pt x="1063" y="7206"/>
                  </a:cubicBezTo>
                  <a:cubicBezTo>
                    <a:pt x="1075" y="7200"/>
                    <a:pt x="1078" y="7191"/>
                    <a:pt x="1085" y="7148"/>
                  </a:cubicBezTo>
                  <a:cubicBezTo>
                    <a:pt x="1091" y="7107"/>
                    <a:pt x="1095" y="7102"/>
                    <a:pt x="1126" y="7097"/>
                  </a:cubicBezTo>
                  <a:cubicBezTo>
                    <a:pt x="1168" y="7091"/>
                    <a:pt x="1189" y="7056"/>
                    <a:pt x="1192" y="6982"/>
                  </a:cubicBezTo>
                  <a:cubicBezTo>
                    <a:pt x="1195" y="6930"/>
                    <a:pt x="1193" y="6921"/>
                    <a:pt x="1177" y="6897"/>
                  </a:cubicBezTo>
                  <a:lnTo>
                    <a:pt x="1166" y="6880"/>
                  </a:lnTo>
                  <a:lnTo>
                    <a:pt x="1177" y="6870"/>
                  </a:lnTo>
                  <a:cubicBezTo>
                    <a:pt x="1188" y="6860"/>
                    <a:pt x="1189" y="6856"/>
                    <a:pt x="1198" y="6732"/>
                  </a:cubicBezTo>
                  <a:cubicBezTo>
                    <a:pt x="1218" y="6461"/>
                    <a:pt x="1217" y="6439"/>
                    <a:pt x="1166" y="6195"/>
                  </a:cubicBezTo>
                  <a:cubicBezTo>
                    <a:pt x="1148" y="6111"/>
                    <a:pt x="1130" y="6022"/>
                    <a:pt x="1124" y="5998"/>
                  </a:cubicBezTo>
                  <a:cubicBezTo>
                    <a:pt x="1119" y="5973"/>
                    <a:pt x="1114" y="5936"/>
                    <a:pt x="1112" y="5916"/>
                  </a:cubicBezTo>
                  <a:cubicBezTo>
                    <a:pt x="1109" y="5871"/>
                    <a:pt x="1101" y="5776"/>
                    <a:pt x="1098" y="5744"/>
                  </a:cubicBezTo>
                  <a:cubicBezTo>
                    <a:pt x="1092" y="5682"/>
                    <a:pt x="1094" y="5263"/>
                    <a:pt x="1102" y="5089"/>
                  </a:cubicBezTo>
                  <a:cubicBezTo>
                    <a:pt x="1113" y="4821"/>
                    <a:pt x="1125" y="4465"/>
                    <a:pt x="1131" y="4193"/>
                  </a:cubicBezTo>
                  <a:cubicBezTo>
                    <a:pt x="1133" y="4122"/>
                    <a:pt x="1136" y="4065"/>
                    <a:pt x="1138" y="4067"/>
                  </a:cubicBezTo>
                  <a:cubicBezTo>
                    <a:pt x="1146" y="4076"/>
                    <a:pt x="1167" y="4150"/>
                    <a:pt x="1184" y="4224"/>
                  </a:cubicBezTo>
                  <a:cubicBezTo>
                    <a:pt x="1196" y="4282"/>
                    <a:pt x="1216" y="4403"/>
                    <a:pt x="1222" y="4461"/>
                  </a:cubicBezTo>
                  <a:cubicBezTo>
                    <a:pt x="1235" y="4595"/>
                    <a:pt x="1244" y="4688"/>
                    <a:pt x="1247" y="4705"/>
                  </a:cubicBezTo>
                  <a:cubicBezTo>
                    <a:pt x="1248" y="4714"/>
                    <a:pt x="1252" y="4753"/>
                    <a:pt x="1256" y="4791"/>
                  </a:cubicBezTo>
                  <a:cubicBezTo>
                    <a:pt x="1260" y="4830"/>
                    <a:pt x="1264" y="4868"/>
                    <a:pt x="1265" y="4877"/>
                  </a:cubicBezTo>
                  <a:cubicBezTo>
                    <a:pt x="1267" y="4886"/>
                    <a:pt x="1271" y="4924"/>
                    <a:pt x="1275" y="4961"/>
                  </a:cubicBezTo>
                  <a:cubicBezTo>
                    <a:pt x="1279" y="4998"/>
                    <a:pt x="1284" y="5045"/>
                    <a:pt x="1287" y="5065"/>
                  </a:cubicBezTo>
                  <a:cubicBezTo>
                    <a:pt x="1289" y="5086"/>
                    <a:pt x="1292" y="5116"/>
                    <a:pt x="1293" y="5133"/>
                  </a:cubicBezTo>
                  <a:cubicBezTo>
                    <a:pt x="1297" y="5185"/>
                    <a:pt x="1306" y="5289"/>
                    <a:pt x="1307" y="5308"/>
                  </a:cubicBezTo>
                  <a:cubicBezTo>
                    <a:pt x="1308" y="5318"/>
                    <a:pt x="1310" y="5345"/>
                    <a:pt x="1312" y="5368"/>
                  </a:cubicBezTo>
                  <a:cubicBezTo>
                    <a:pt x="1314" y="5391"/>
                    <a:pt x="1316" y="5419"/>
                    <a:pt x="1317" y="5430"/>
                  </a:cubicBezTo>
                  <a:cubicBezTo>
                    <a:pt x="1323" y="5495"/>
                    <a:pt x="1333" y="5793"/>
                    <a:pt x="1333" y="5888"/>
                  </a:cubicBezTo>
                  <a:cubicBezTo>
                    <a:pt x="1333" y="5963"/>
                    <a:pt x="1328" y="6006"/>
                    <a:pt x="1294" y="6234"/>
                  </a:cubicBezTo>
                  <a:cubicBezTo>
                    <a:pt x="1275" y="6362"/>
                    <a:pt x="1266" y="6529"/>
                    <a:pt x="1270" y="6706"/>
                  </a:cubicBezTo>
                  <a:cubicBezTo>
                    <a:pt x="1273" y="6855"/>
                    <a:pt x="1273" y="6859"/>
                    <a:pt x="1284" y="6880"/>
                  </a:cubicBezTo>
                  <a:cubicBezTo>
                    <a:pt x="1295" y="6902"/>
                    <a:pt x="1310" y="6920"/>
                    <a:pt x="1319" y="6923"/>
                  </a:cubicBezTo>
                  <a:cubicBezTo>
                    <a:pt x="1323" y="6925"/>
                    <a:pt x="1321" y="6934"/>
                    <a:pt x="1314" y="6955"/>
                  </a:cubicBezTo>
                  <a:cubicBezTo>
                    <a:pt x="1301" y="6992"/>
                    <a:pt x="1300" y="7049"/>
                    <a:pt x="1311" y="7080"/>
                  </a:cubicBezTo>
                  <a:cubicBezTo>
                    <a:pt x="1322" y="7107"/>
                    <a:pt x="1337" y="7124"/>
                    <a:pt x="1376" y="7146"/>
                  </a:cubicBezTo>
                  <a:cubicBezTo>
                    <a:pt x="1401" y="7161"/>
                    <a:pt x="1413" y="7172"/>
                    <a:pt x="1436" y="7204"/>
                  </a:cubicBezTo>
                  <a:cubicBezTo>
                    <a:pt x="1452" y="7225"/>
                    <a:pt x="1471" y="7245"/>
                    <a:pt x="1477" y="7247"/>
                  </a:cubicBezTo>
                  <a:cubicBezTo>
                    <a:pt x="1496" y="7254"/>
                    <a:pt x="1646" y="7253"/>
                    <a:pt x="1703" y="7245"/>
                  </a:cubicBezTo>
                  <a:cubicBezTo>
                    <a:pt x="1762" y="7238"/>
                    <a:pt x="1784" y="7229"/>
                    <a:pt x="1825" y="7199"/>
                  </a:cubicBezTo>
                  <a:cubicBezTo>
                    <a:pt x="1864" y="7169"/>
                    <a:pt x="1869" y="7160"/>
                    <a:pt x="1866" y="7131"/>
                  </a:cubicBezTo>
                  <a:cubicBezTo>
                    <a:pt x="1862" y="7097"/>
                    <a:pt x="1837" y="7048"/>
                    <a:pt x="1784" y="6975"/>
                  </a:cubicBezTo>
                  <a:cubicBezTo>
                    <a:pt x="1721" y="6887"/>
                    <a:pt x="1722" y="6879"/>
                    <a:pt x="1792" y="6859"/>
                  </a:cubicBezTo>
                  <a:cubicBezTo>
                    <a:pt x="1849" y="6844"/>
                    <a:pt x="1875" y="6832"/>
                    <a:pt x="1881" y="6819"/>
                  </a:cubicBezTo>
                  <a:cubicBezTo>
                    <a:pt x="1886" y="6811"/>
                    <a:pt x="1886" y="6750"/>
                    <a:pt x="1883" y="6551"/>
                  </a:cubicBezTo>
                  <a:cubicBezTo>
                    <a:pt x="1879" y="6248"/>
                    <a:pt x="1878" y="6227"/>
                    <a:pt x="1883" y="5716"/>
                  </a:cubicBezTo>
                  <a:cubicBezTo>
                    <a:pt x="1886" y="5269"/>
                    <a:pt x="1890" y="5163"/>
                    <a:pt x="1909" y="4965"/>
                  </a:cubicBezTo>
                  <a:cubicBezTo>
                    <a:pt x="1926" y="4795"/>
                    <a:pt x="1931" y="4737"/>
                    <a:pt x="1936" y="4652"/>
                  </a:cubicBezTo>
                  <a:cubicBezTo>
                    <a:pt x="1939" y="4616"/>
                    <a:pt x="1947" y="4552"/>
                    <a:pt x="1953" y="4508"/>
                  </a:cubicBezTo>
                  <a:cubicBezTo>
                    <a:pt x="1967" y="4421"/>
                    <a:pt x="1974" y="4271"/>
                    <a:pt x="1972" y="4107"/>
                  </a:cubicBezTo>
                  <a:lnTo>
                    <a:pt x="1972" y="4018"/>
                  </a:lnTo>
                  <a:lnTo>
                    <a:pt x="1994" y="4013"/>
                  </a:lnTo>
                  <a:cubicBezTo>
                    <a:pt x="2006" y="4010"/>
                    <a:pt x="2023" y="4008"/>
                    <a:pt x="2030" y="4008"/>
                  </a:cubicBezTo>
                  <a:lnTo>
                    <a:pt x="2044" y="4008"/>
                  </a:lnTo>
                  <a:lnTo>
                    <a:pt x="2044" y="3956"/>
                  </a:lnTo>
                  <a:cubicBezTo>
                    <a:pt x="2044" y="3927"/>
                    <a:pt x="2039" y="3849"/>
                    <a:pt x="2032" y="3783"/>
                  </a:cubicBezTo>
                  <a:lnTo>
                    <a:pt x="2020" y="3662"/>
                  </a:lnTo>
                  <a:lnTo>
                    <a:pt x="2047" y="3620"/>
                  </a:lnTo>
                  <a:cubicBezTo>
                    <a:pt x="2061" y="3597"/>
                    <a:pt x="2084" y="3563"/>
                    <a:pt x="2096" y="3545"/>
                  </a:cubicBezTo>
                  <a:cubicBezTo>
                    <a:pt x="2160" y="3450"/>
                    <a:pt x="2193" y="3349"/>
                    <a:pt x="2225" y="3146"/>
                  </a:cubicBezTo>
                  <a:cubicBezTo>
                    <a:pt x="2249" y="2994"/>
                    <a:pt x="2250" y="2978"/>
                    <a:pt x="2252" y="2690"/>
                  </a:cubicBezTo>
                  <a:cubicBezTo>
                    <a:pt x="2254" y="2414"/>
                    <a:pt x="2253" y="2377"/>
                    <a:pt x="2235" y="2068"/>
                  </a:cubicBezTo>
                  <a:cubicBezTo>
                    <a:pt x="2210" y="1652"/>
                    <a:pt x="2194" y="1487"/>
                    <a:pt x="2169" y="1381"/>
                  </a:cubicBezTo>
                  <a:cubicBezTo>
                    <a:pt x="2160" y="1342"/>
                    <a:pt x="2157" y="1337"/>
                    <a:pt x="2137" y="1317"/>
                  </a:cubicBezTo>
                  <a:cubicBezTo>
                    <a:pt x="2110" y="1290"/>
                    <a:pt x="2104" y="1287"/>
                    <a:pt x="1851" y="1217"/>
                  </a:cubicBezTo>
                  <a:cubicBezTo>
                    <a:pt x="1828" y="1211"/>
                    <a:pt x="1791" y="1200"/>
                    <a:pt x="1769" y="1194"/>
                  </a:cubicBezTo>
                  <a:cubicBezTo>
                    <a:pt x="1711" y="1178"/>
                    <a:pt x="1559" y="1111"/>
                    <a:pt x="1529" y="1088"/>
                  </a:cubicBezTo>
                  <a:cubicBezTo>
                    <a:pt x="1493" y="1061"/>
                    <a:pt x="1454" y="1017"/>
                    <a:pt x="1429" y="975"/>
                  </a:cubicBezTo>
                  <a:cubicBezTo>
                    <a:pt x="1411" y="945"/>
                    <a:pt x="1406" y="931"/>
                    <a:pt x="1400" y="896"/>
                  </a:cubicBezTo>
                  <a:cubicBezTo>
                    <a:pt x="1396" y="873"/>
                    <a:pt x="1395" y="848"/>
                    <a:pt x="1396" y="841"/>
                  </a:cubicBezTo>
                  <a:cubicBezTo>
                    <a:pt x="1398" y="833"/>
                    <a:pt x="1410" y="812"/>
                    <a:pt x="1423" y="794"/>
                  </a:cubicBezTo>
                  <a:cubicBezTo>
                    <a:pt x="1465" y="738"/>
                    <a:pt x="1469" y="727"/>
                    <a:pt x="1478" y="614"/>
                  </a:cubicBezTo>
                  <a:lnTo>
                    <a:pt x="1483" y="541"/>
                  </a:lnTo>
                  <a:lnTo>
                    <a:pt x="1470" y="522"/>
                  </a:lnTo>
                  <a:lnTo>
                    <a:pt x="1456" y="502"/>
                  </a:lnTo>
                  <a:lnTo>
                    <a:pt x="1455" y="409"/>
                  </a:lnTo>
                  <a:cubicBezTo>
                    <a:pt x="1452" y="199"/>
                    <a:pt x="1452" y="201"/>
                    <a:pt x="1441" y="182"/>
                  </a:cubicBezTo>
                  <a:cubicBezTo>
                    <a:pt x="1428" y="161"/>
                    <a:pt x="1311" y="47"/>
                    <a:pt x="1293" y="37"/>
                  </a:cubicBezTo>
                  <a:cubicBezTo>
                    <a:pt x="1279" y="30"/>
                    <a:pt x="1223" y="19"/>
                    <a:pt x="1175" y="13"/>
                  </a:cubicBezTo>
                  <a:cubicBezTo>
                    <a:pt x="1161" y="11"/>
                    <a:pt x="1137" y="7"/>
                    <a:pt x="1123" y="3"/>
                  </a:cubicBezTo>
                  <a:cubicBezTo>
                    <a:pt x="1112" y="1"/>
                    <a:pt x="1101" y="0"/>
                    <a:pt x="1089" y="0"/>
                  </a:cubicBez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reeform 191">
              <a:extLst>
                <a:ext uri="{FF2B5EF4-FFF2-40B4-BE49-F238E27FC236}">
                  <a16:creationId xmlns:a16="http://schemas.microsoft.com/office/drawing/2014/main" id="{129E1339-0302-46B2-A972-AB7BA50EA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" y="2152"/>
              <a:ext cx="639" cy="1957"/>
            </a:xfrm>
            <a:custGeom>
              <a:avLst/>
              <a:gdLst>
                <a:gd name="T0" fmla="*/ 926 w 2338"/>
                <a:gd name="T1" fmla="*/ 39 h 7153"/>
                <a:gd name="T2" fmla="*/ 746 w 2338"/>
                <a:gd name="T3" fmla="*/ 507 h 7153"/>
                <a:gd name="T4" fmla="*/ 831 w 2338"/>
                <a:gd name="T5" fmla="*/ 780 h 7153"/>
                <a:gd name="T6" fmla="*/ 852 w 2338"/>
                <a:gd name="T7" fmla="*/ 954 h 7153"/>
                <a:gd name="T8" fmla="*/ 118 w 2338"/>
                <a:gd name="T9" fmla="*/ 1391 h 7153"/>
                <a:gd name="T10" fmla="*/ 39 w 2338"/>
                <a:gd name="T11" fmla="*/ 2088 h 7153"/>
                <a:gd name="T12" fmla="*/ 21 w 2338"/>
                <a:gd name="T13" fmla="*/ 3531 h 7153"/>
                <a:gd name="T14" fmla="*/ 77 w 2338"/>
                <a:gd name="T15" fmla="*/ 3822 h 7153"/>
                <a:gd name="T16" fmla="*/ 96 w 2338"/>
                <a:gd name="T17" fmla="*/ 4107 h 7153"/>
                <a:gd name="T18" fmla="*/ 250 w 2338"/>
                <a:gd name="T19" fmla="*/ 4282 h 7153"/>
                <a:gd name="T20" fmla="*/ 199 w 2338"/>
                <a:gd name="T21" fmla="*/ 5221 h 7153"/>
                <a:gd name="T22" fmla="*/ 181 w 2338"/>
                <a:gd name="T23" fmla="*/ 6562 h 7153"/>
                <a:gd name="T24" fmla="*/ 237 w 2338"/>
                <a:gd name="T25" fmla="*/ 6649 h 7153"/>
                <a:gd name="T26" fmla="*/ 51 w 2338"/>
                <a:gd name="T27" fmla="*/ 6906 h 7153"/>
                <a:gd name="T28" fmla="*/ 86 w 2338"/>
                <a:gd name="T29" fmla="*/ 7100 h 7153"/>
                <a:gd name="T30" fmla="*/ 469 w 2338"/>
                <a:gd name="T31" fmla="*/ 7032 h 7153"/>
                <a:gd name="T32" fmla="*/ 591 w 2338"/>
                <a:gd name="T33" fmla="*/ 6963 h 7153"/>
                <a:gd name="T34" fmla="*/ 682 w 2338"/>
                <a:gd name="T35" fmla="*/ 6789 h 7153"/>
                <a:gd name="T36" fmla="*/ 709 w 2338"/>
                <a:gd name="T37" fmla="*/ 6285 h 7153"/>
                <a:gd name="T38" fmla="*/ 780 w 2338"/>
                <a:gd name="T39" fmla="*/ 5610 h 7153"/>
                <a:gd name="T40" fmla="*/ 974 w 2338"/>
                <a:gd name="T41" fmla="*/ 4885 h 7153"/>
                <a:gd name="T42" fmla="*/ 1116 w 2338"/>
                <a:gd name="T43" fmla="*/ 4262 h 7153"/>
                <a:gd name="T44" fmla="*/ 1130 w 2338"/>
                <a:gd name="T45" fmla="*/ 4179 h 7153"/>
                <a:gd name="T46" fmla="*/ 1194 w 2338"/>
                <a:gd name="T47" fmla="*/ 4539 h 7153"/>
                <a:gd name="T48" fmla="*/ 1220 w 2338"/>
                <a:gd name="T49" fmla="*/ 5951 h 7153"/>
                <a:gd name="T50" fmla="*/ 1243 w 2338"/>
                <a:gd name="T51" fmla="*/ 6653 h 7153"/>
                <a:gd name="T52" fmla="*/ 1284 w 2338"/>
                <a:gd name="T53" fmla="*/ 6727 h 7153"/>
                <a:gd name="T54" fmla="*/ 1410 w 2338"/>
                <a:gd name="T55" fmla="*/ 6978 h 7153"/>
                <a:gd name="T56" fmla="*/ 1762 w 2338"/>
                <a:gd name="T57" fmla="*/ 7137 h 7153"/>
                <a:gd name="T58" fmla="*/ 1991 w 2338"/>
                <a:gd name="T59" fmla="*/ 7143 h 7153"/>
                <a:gd name="T60" fmla="*/ 2125 w 2338"/>
                <a:gd name="T61" fmla="*/ 7006 h 7153"/>
                <a:gd name="T62" fmla="*/ 1755 w 2338"/>
                <a:gd name="T63" fmla="*/ 6652 h 7153"/>
                <a:gd name="T64" fmla="*/ 1805 w 2338"/>
                <a:gd name="T65" fmla="*/ 6114 h 7153"/>
                <a:gd name="T66" fmla="*/ 1861 w 2338"/>
                <a:gd name="T67" fmla="*/ 5702 h 7153"/>
                <a:gd name="T68" fmla="*/ 1927 w 2338"/>
                <a:gd name="T69" fmla="*/ 5258 h 7153"/>
                <a:gd name="T70" fmla="*/ 2003 w 2338"/>
                <a:gd name="T71" fmla="*/ 4320 h 7153"/>
                <a:gd name="T72" fmla="*/ 2224 w 2338"/>
                <a:gd name="T73" fmla="*/ 3967 h 7153"/>
                <a:gd name="T74" fmla="*/ 2279 w 2338"/>
                <a:gd name="T75" fmla="*/ 3812 h 7153"/>
                <a:gd name="T76" fmla="*/ 2335 w 2338"/>
                <a:gd name="T77" fmla="*/ 3614 h 7153"/>
                <a:gd name="T78" fmla="*/ 2276 w 2338"/>
                <a:gd name="T79" fmla="*/ 2004 h 7153"/>
                <a:gd name="T80" fmla="*/ 2245 w 2338"/>
                <a:gd name="T81" fmla="*/ 1785 h 7153"/>
                <a:gd name="T82" fmla="*/ 2031 w 2338"/>
                <a:gd name="T83" fmla="*/ 1267 h 7153"/>
                <a:gd name="T84" fmla="*/ 1410 w 2338"/>
                <a:gd name="T85" fmla="*/ 950 h 7153"/>
                <a:gd name="T86" fmla="*/ 1495 w 2338"/>
                <a:gd name="T87" fmla="*/ 568 h 7153"/>
                <a:gd name="T88" fmla="*/ 1489 w 2338"/>
                <a:gd name="T89" fmla="*/ 273 h 7153"/>
                <a:gd name="T90" fmla="*/ 1036 w 2338"/>
                <a:gd name="T91" fmla="*/ 0 h 7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38" h="7153">
                  <a:moveTo>
                    <a:pt x="1036" y="0"/>
                  </a:moveTo>
                  <a:lnTo>
                    <a:pt x="988" y="18"/>
                  </a:lnTo>
                  <a:cubicBezTo>
                    <a:pt x="961" y="28"/>
                    <a:pt x="933" y="37"/>
                    <a:pt x="926" y="39"/>
                  </a:cubicBezTo>
                  <a:cubicBezTo>
                    <a:pt x="906" y="43"/>
                    <a:pt x="854" y="85"/>
                    <a:pt x="827" y="117"/>
                  </a:cubicBezTo>
                  <a:cubicBezTo>
                    <a:pt x="778" y="177"/>
                    <a:pt x="769" y="207"/>
                    <a:pt x="763" y="345"/>
                  </a:cubicBezTo>
                  <a:cubicBezTo>
                    <a:pt x="757" y="486"/>
                    <a:pt x="756" y="491"/>
                    <a:pt x="746" y="507"/>
                  </a:cubicBezTo>
                  <a:cubicBezTo>
                    <a:pt x="733" y="527"/>
                    <a:pt x="739" y="599"/>
                    <a:pt x="758" y="666"/>
                  </a:cubicBezTo>
                  <a:cubicBezTo>
                    <a:pt x="770" y="707"/>
                    <a:pt x="777" y="722"/>
                    <a:pt x="797" y="748"/>
                  </a:cubicBezTo>
                  <a:cubicBezTo>
                    <a:pt x="811" y="766"/>
                    <a:pt x="826" y="780"/>
                    <a:pt x="831" y="780"/>
                  </a:cubicBezTo>
                  <a:cubicBezTo>
                    <a:pt x="841" y="780"/>
                    <a:pt x="856" y="800"/>
                    <a:pt x="866" y="827"/>
                  </a:cubicBezTo>
                  <a:cubicBezTo>
                    <a:pt x="871" y="842"/>
                    <a:pt x="871" y="854"/>
                    <a:pt x="866" y="896"/>
                  </a:cubicBezTo>
                  <a:cubicBezTo>
                    <a:pt x="862" y="923"/>
                    <a:pt x="856" y="949"/>
                    <a:pt x="852" y="954"/>
                  </a:cubicBezTo>
                  <a:cubicBezTo>
                    <a:pt x="844" y="963"/>
                    <a:pt x="831" y="971"/>
                    <a:pt x="697" y="1056"/>
                  </a:cubicBezTo>
                  <a:cubicBezTo>
                    <a:pt x="603" y="1116"/>
                    <a:pt x="558" y="1141"/>
                    <a:pt x="403" y="1223"/>
                  </a:cubicBezTo>
                  <a:cubicBezTo>
                    <a:pt x="199" y="1330"/>
                    <a:pt x="128" y="1372"/>
                    <a:pt x="118" y="1391"/>
                  </a:cubicBezTo>
                  <a:cubicBezTo>
                    <a:pt x="112" y="1401"/>
                    <a:pt x="103" y="1460"/>
                    <a:pt x="87" y="1587"/>
                  </a:cubicBezTo>
                  <a:cubicBezTo>
                    <a:pt x="82" y="1631"/>
                    <a:pt x="72" y="1712"/>
                    <a:pt x="65" y="1765"/>
                  </a:cubicBezTo>
                  <a:cubicBezTo>
                    <a:pt x="52" y="1858"/>
                    <a:pt x="45" y="1955"/>
                    <a:pt x="39" y="2088"/>
                  </a:cubicBezTo>
                  <a:cubicBezTo>
                    <a:pt x="37" y="2123"/>
                    <a:pt x="33" y="2184"/>
                    <a:pt x="31" y="2223"/>
                  </a:cubicBezTo>
                  <a:cubicBezTo>
                    <a:pt x="19" y="2395"/>
                    <a:pt x="14" y="2670"/>
                    <a:pt x="18" y="2961"/>
                  </a:cubicBezTo>
                  <a:cubicBezTo>
                    <a:pt x="19" y="3126"/>
                    <a:pt x="21" y="3383"/>
                    <a:pt x="21" y="3531"/>
                  </a:cubicBezTo>
                  <a:lnTo>
                    <a:pt x="21" y="3801"/>
                  </a:lnTo>
                  <a:lnTo>
                    <a:pt x="39" y="3810"/>
                  </a:lnTo>
                  <a:cubicBezTo>
                    <a:pt x="49" y="3814"/>
                    <a:pt x="66" y="3820"/>
                    <a:pt x="77" y="3822"/>
                  </a:cubicBezTo>
                  <a:lnTo>
                    <a:pt x="98" y="3825"/>
                  </a:lnTo>
                  <a:lnTo>
                    <a:pt x="95" y="3871"/>
                  </a:lnTo>
                  <a:cubicBezTo>
                    <a:pt x="90" y="3944"/>
                    <a:pt x="90" y="4066"/>
                    <a:pt x="96" y="4107"/>
                  </a:cubicBezTo>
                  <a:cubicBezTo>
                    <a:pt x="105" y="4166"/>
                    <a:pt x="124" y="4197"/>
                    <a:pt x="174" y="4236"/>
                  </a:cubicBezTo>
                  <a:cubicBezTo>
                    <a:pt x="197" y="4254"/>
                    <a:pt x="224" y="4271"/>
                    <a:pt x="234" y="4275"/>
                  </a:cubicBezTo>
                  <a:lnTo>
                    <a:pt x="250" y="4282"/>
                  </a:lnTo>
                  <a:lnTo>
                    <a:pt x="248" y="4314"/>
                  </a:lnTo>
                  <a:cubicBezTo>
                    <a:pt x="242" y="4380"/>
                    <a:pt x="234" y="4559"/>
                    <a:pt x="232" y="4686"/>
                  </a:cubicBezTo>
                  <a:cubicBezTo>
                    <a:pt x="227" y="4908"/>
                    <a:pt x="221" y="5006"/>
                    <a:pt x="199" y="5221"/>
                  </a:cubicBezTo>
                  <a:cubicBezTo>
                    <a:pt x="172" y="5489"/>
                    <a:pt x="172" y="5477"/>
                    <a:pt x="176" y="5669"/>
                  </a:cubicBezTo>
                  <a:cubicBezTo>
                    <a:pt x="178" y="5770"/>
                    <a:pt x="181" y="5896"/>
                    <a:pt x="185" y="5949"/>
                  </a:cubicBezTo>
                  <a:cubicBezTo>
                    <a:pt x="192" y="6080"/>
                    <a:pt x="190" y="6480"/>
                    <a:pt x="181" y="6562"/>
                  </a:cubicBezTo>
                  <a:cubicBezTo>
                    <a:pt x="178" y="6597"/>
                    <a:pt x="176" y="6627"/>
                    <a:pt x="177" y="6629"/>
                  </a:cubicBezTo>
                  <a:cubicBezTo>
                    <a:pt x="178" y="6630"/>
                    <a:pt x="191" y="6634"/>
                    <a:pt x="206" y="6638"/>
                  </a:cubicBezTo>
                  <a:cubicBezTo>
                    <a:pt x="222" y="6641"/>
                    <a:pt x="235" y="6647"/>
                    <a:pt x="237" y="6649"/>
                  </a:cubicBezTo>
                  <a:cubicBezTo>
                    <a:pt x="243" y="6658"/>
                    <a:pt x="209" y="6714"/>
                    <a:pt x="167" y="6762"/>
                  </a:cubicBezTo>
                  <a:cubicBezTo>
                    <a:pt x="144" y="6790"/>
                    <a:pt x="115" y="6826"/>
                    <a:pt x="102" y="6842"/>
                  </a:cubicBezTo>
                  <a:cubicBezTo>
                    <a:pt x="90" y="6858"/>
                    <a:pt x="67" y="6887"/>
                    <a:pt x="51" y="6906"/>
                  </a:cubicBezTo>
                  <a:cubicBezTo>
                    <a:pt x="14" y="6953"/>
                    <a:pt x="5" y="6970"/>
                    <a:pt x="2" y="7002"/>
                  </a:cubicBezTo>
                  <a:cubicBezTo>
                    <a:pt x="0" y="7023"/>
                    <a:pt x="2" y="7034"/>
                    <a:pt x="11" y="7055"/>
                  </a:cubicBezTo>
                  <a:cubicBezTo>
                    <a:pt x="24" y="7087"/>
                    <a:pt x="39" y="7096"/>
                    <a:pt x="86" y="7100"/>
                  </a:cubicBezTo>
                  <a:cubicBezTo>
                    <a:pt x="102" y="7101"/>
                    <a:pt x="138" y="7105"/>
                    <a:pt x="166" y="7109"/>
                  </a:cubicBezTo>
                  <a:cubicBezTo>
                    <a:pt x="245" y="7120"/>
                    <a:pt x="310" y="7123"/>
                    <a:pt x="340" y="7117"/>
                  </a:cubicBezTo>
                  <a:cubicBezTo>
                    <a:pt x="370" y="7110"/>
                    <a:pt x="419" y="7078"/>
                    <a:pt x="469" y="7032"/>
                  </a:cubicBezTo>
                  <a:cubicBezTo>
                    <a:pt x="500" y="7003"/>
                    <a:pt x="502" y="7003"/>
                    <a:pt x="528" y="7004"/>
                  </a:cubicBezTo>
                  <a:lnTo>
                    <a:pt x="554" y="7004"/>
                  </a:lnTo>
                  <a:lnTo>
                    <a:pt x="591" y="6963"/>
                  </a:lnTo>
                  <a:cubicBezTo>
                    <a:pt x="612" y="6940"/>
                    <a:pt x="638" y="6912"/>
                    <a:pt x="650" y="6901"/>
                  </a:cubicBezTo>
                  <a:cubicBezTo>
                    <a:pt x="661" y="6890"/>
                    <a:pt x="674" y="6875"/>
                    <a:pt x="677" y="6869"/>
                  </a:cubicBezTo>
                  <a:cubicBezTo>
                    <a:pt x="680" y="6862"/>
                    <a:pt x="682" y="6831"/>
                    <a:pt x="682" y="6789"/>
                  </a:cubicBezTo>
                  <a:cubicBezTo>
                    <a:pt x="682" y="6728"/>
                    <a:pt x="684" y="6720"/>
                    <a:pt x="692" y="6714"/>
                  </a:cubicBezTo>
                  <a:cubicBezTo>
                    <a:pt x="701" y="6708"/>
                    <a:pt x="702" y="6696"/>
                    <a:pt x="705" y="6565"/>
                  </a:cubicBezTo>
                  <a:cubicBezTo>
                    <a:pt x="707" y="6487"/>
                    <a:pt x="708" y="6360"/>
                    <a:pt x="709" y="6285"/>
                  </a:cubicBezTo>
                  <a:cubicBezTo>
                    <a:pt x="709" y="6209"/>
                    <a:pt x="712" y="6119"/>
                    <a:pt x="716" y="6084"/>
                  </a:cubicBezTo>
                  <a:cubicBezTo>
                    <a:pt x="720" y="6049"/>
                    <a:pt x="726" y="5980"/>
                    <a:pt x="731" y="5932"/>
                  </a:cubicBezTo>
                  <a:cubicBezTo>
                    <a:pt x="737" y="5859"/>
                    <a:pt x="752" y="5765"/>
                    <a:pt x="780" y="5610"/>
                  </a:cubicBezTo>
                  <a:cubicBezTo>
                    <a:pt x="784" y="5584"/>
                    <a:pt x="790" y="5560"/>
                    <a:pt x="866" y="5282"/>
                  </a:cubicBezTo>
                  <a:cubicBezTo>
                    <a:pt x="896" y="5170"/>
                    <a:pt x="925" y="5066"/>
                    <a:pt x="929" y="5050"/>
                  </a:cubicBezTo>
                  <a:cubicBezTo>
                    <a:pt x="933" y="5035"/>
                    <a:pt x="953" y="4961"/>
                    <a:pt x="974" y="4885"/>
                  </a:cubicBezTo>
                  <a:cubicBezTo>
                    <a:pt x="1021" y="4718"/>
                    <a:pt x="1069" y="4534"/>
                    <a:pt x="1075" y="4496"/>
                  </a:cubicBezTo>
                  <a:cubicBezTo>
                    <a:pt x="1078" y="4480"/>
                    <a:pt x="1082" y="4453"/>
                    <a:pt x="1084" y="4435"/>
                  </a:cubicBezTo>
                  <a:cubicBezTo>
                    <a:pt x="1089" y="4402"/>
                    <a:pt x="1094" y="4381"/>
                    <a:pt x="1116" y="4262"/>
                  </a:cubicBezTo>
                  <a:cubicBezTo>
                    <a:pt x="1121" y="4229"/>
                    <a:pt x="1125" y="4194"/>
                    <a:pt x="1123" y="4183"/>
                  </a:cubicBezTo>
                  <a:cubicBezTo>
                    <a:pt x="1122" y="4173"/>
                    <a:pt x="1123" y="4166"/>
                    <a:pt x="1125" y="4168"/>
                  </a:cubicBezTo>
                  <a:cubicBezTo>
                    <a:pt x="1128" y="4169"/>
                    <a:pt x="1130" y="4174"/>
                    <a:pt x="1130" y="4179"/>
                  </a:cubicBezTo>
                  <a:cubicBezTo>
                    <a:pt x="1130" y="4184"/>
                    <a:pt x="1141" y="4229"/>
                    <a:pt x="1153" y="4280"/>
                  </a:cubicBezTo>
                  <a:cubicBezTo>
                    <a:pt x="1166" y="4330"/>
                    <a:pt x="1177" y="4384"/>
                    <a:pt x="1178" y="4399"/>
                  </a:cubicBezTo>
                  <a:cubicBezTo>
                    <a:pt x="1180" y="4414"/>
                    <a:pt x="1187" y="4477"/>
                    <a:pt x="1194" y="4539"/>
                  </a:cubicBezTo>
                  <a:cubicBezTo>
                    <a:pt x="1203" y="4625"/>
                    <a:pt x="1207" y="4701"/>
                    <a:pt x="1212" y="4866"/>
                  </a:cubicBezTo>
                  <a:cubicBezTo>
                    <a:pt x="1215" y="4984"/>
                    <a:pt x="1216" y="5083"/>
                    <a:pt x="1214" y="5086"/>
                  </a:cubicBezTo>
                  <a:cubicBezTo>
                    <a:pt x="1208" y="5097"/>
                    <a:pt x="1212" y="5776"/>
                    <a:pt x="1220" y="5951"/>
                  </a:cubicBezTo>
                  <a:cubicBezTo>
                    <a:pt x="1225" y="6082"/>
                    <a:pt x="1227" y="6180"/>
                    <a:pt x="1224" y="6305"/>
                  </a:cubicBezTo>
                  <a:cubicBezTo>
                    <a:pt x="1221" y="6472"/>
                    <a:pt x="1221" y="6480"/>
                    <a:pt x="1231" y="6514"/>
                  </a:cubicBezTo>
                  <a:cubicBezTo>
                    <a:pt x="1244" y="6559"/>
                    <a:pt x="1249" y="6612"/>
                    <a:pt x="1243" y="6653"/>
                  </a:cubicBezTo>
                  <a:cubicBezTo>
                    <a:pt x="1238" y="6691"/>
                    <a:pt x="1241" y="6697"/>
                    <a:pt x="1273" y="6701"/>
                  </a:cubicBezTo>
                  <a:cubicBezTo>
                    <a:pt x="1284" y="6703"/>
                    <a:pt x="1293" y="6706"/>
                    <a:pt x="1293" y="6708"/>
                  </a:cubicBezTo>
                  <a:cubicBezTo>
                    <a:pt x="1293" y="6710"/>
                    <a:pt x="1289" y="6718"/>
                    <a:pt x="1284" y="6727"/>
                  </a:cubicBezTo>
                  <a:cubicBezTo>
                    <a:pt x="1265" y="6757"/>
                    <a:pt x="1257" y="6799"/>
                    <a:pt x="1259" y="6853"/>
                  </a:cubicBezTo>
                  <a:cubicBezTo>
                    <a:pt x="1260" y="6900"/>
                    <a:pt x="1261" y="6903"/>
                    <a:pt x="1275" y="6918"/>
                  </a:cubicBezTo>
                  <a:cubicBezTo>
                    <a:pt x="1295" y="6939"/>
                    <a:pt x="1332" y="6956"/>
                    <a:pt x="1410" y="6978"/>
                  </a:cubicBezTo>
                  <a:cubicBezTo>
                    <a:pt x="1487" y="7000"/>
                    <a:pt x="1486" y="6999"/>
                    <a:pt x="1551" y="7047"/>
                  </a:cubicBezTo>
                  <a:cubicBezTo>
                    <a:pt x="1579" y="7067"/>
                    <a:pt x="1621" y="7094"/>
                    <a:pt x="1645" y="7106"/>
                  </a:cubicBezTo>
                  <a:cubicBezTo>
                    <a:pt x="1683" y="7125"/>
                    <a:pt x="1696" y="7128"/>
                    <a:pt x="1762" y="7137"/>
                  </a:cubicBezTo>
                  <a:cubicBezTo>
                    <a:pt x="1802" y="7142"/>
                    <a:pt x="1840" y="7148"/>
                    <a:pt x="1848" y="7149"/>
                  </a:cubicBezTo>
                  <a:lnTo>
                    <a:pt x="1848" y="7149"/>
                  </a:lnTo>
                  <a:cubicBezTo>
                    <a:pt x="1869" y="7153"/>
                    <a:pt x="1954" y="7149"/>
                    <a:pt x="1991" y="7143"/>
                  </a:cubicBezTo>
                  <a:cubicBezTo>
                    <a:pt x="2037" y="7135"/>
                    <a:pt x="2104" y="7109"/>
                    <a:pt x="2123" y="7091"/>
                  </a:cubicBezTo>
                  <a:cubicBezTo>
                    <a:pt x="2138" y="7077"/>
                    <a:pt x="2140" y="7074"/>
                    <a:pt x="2137" y="7048"/>
                  </a:cubicBezTo>
                  <a:cubicBezTo>
                    <a:pt x="2136" y="7031"/>
                    <a:pt x="2131" y="7015"/>
                    <a:pt x="2125" y="7006"/>
                  </a:cubicBezTo>
                  <a:cubicBezTo>
                    <a:pt x="2111" y="6987"/>
                    <a:pt x="2066" y="6952"/>
                    <a:pt x="1996" y="6904"/>
                  </a:cubicBezTo>
                  <a:cubicBezTo>
                    <a:pt x="1863" y="6813"/>
                    <a:pt x="1763" y="6725"/>
                    <a:pt x="1737" y="6676"/>
                  </a:cubicBezTo>
                  <a:cubicBezTo>
                    <a:pt x="1729" y="6660"/>
                    <a:pt x="1728" y="6660"/>
                    <a:pt x="1755" y="6652"/>
                  </a:cubicBezTo>
                  <a:lnTo>
                    <a:pt x="1780" y="6645"/>
                  </a:lnTo>
                  <a:lnTo>
                    <a:pt x="1783" y="6513"/>
                  </a:lnTo>
                  <a:cubicBezTo>
                    <a:pt x="1788" y="6327"/>
                    <a:pt x="1796" y="6183"/>
                    <a:pt x="1805" y="6114"/>
                  </a:cubicBezTo>
                  <a:cubicBezTo>
                    <a:pt x="1816" y="6023"/>
                    <a:pt x="1828" y="5928"/>
                    <a:pt x="1833" y="5878"/>
                  </a:cubicBezTo>
                  <a:cubicBezTo>
                    <a:pt x="1836" y="5853"/>
                    <a:pt x="1842" y="5813"/>
                    <a:pt x="1846" y="5791"/>
                  </a:cubicBezTo>
                  <a:cubicBezTo>
                    <a:pt x="1850" y="5769"/>
                    <a:pt x="1857" y="5729"/>
                    <a:pt x="1861" y="5702"/>
                  </a:cubicBezTo>
                  <a:cubicBezTo>
                    <a:pt x="1865" y="5676"/>
                    <a:pt x="1873" y="5628"/>
                    <a:pt x="1879" y="5598"/>
                  </a:cubicBezTo>
                  <a:cubicBezTo>
                    <a:pt x="1890" y="5536"/>
                    <a:pt x="1899" y="5473"/>
                    <a:pt x="1911" y="5379"/>
                  </a:cubicBezTo>
                  <a:cubicBezTo>
                    <a:pt x="1916" y="5345"/>
                    <a:pt x="1922" y="5291"/>
                    <a:pt x="1927" y="5258"/>
                  </a:cubicBezTo>
                  <a:cubicBezTo>
                    <a:pt x="1939" y="5161"/>
                    <a:pt x="1948" y="4686"/>
                    <a:pt x="1941" y="4510"/>
                  </a:cubicBezTo>
                  <a:cubicBezTo>
                    <a:pt x="1937" y="4431"/>
                    <a:pt x="1936" y="4365"/>
                    <a:pt x="1939" y="4362"/>
                  </a:cubicBezTo>
                  <a:cubicBezTo>
                    <a:pt x="1941" y="4360"/>
                    <a:pt x="1970" y="4341"/>
                    <a:pt x="2003" y="4320"/>
                  </a:cubicBezTo>
                  <a:cubicBezTo>
                    <a:pt x="2074" y="4275"/>
                    <a:pt x="2090" y="4261"/>
                    <a:pt x="2143" y="4195"/>
                  </a:cubicBezTo>
                  <a:cubicBezTo>
                    <a:pt x="2186" y="4142"/>
                    <a:pt x="2187" y="4138"/>
                    <a:pt x="2204" y="4045"/>
                  </a:cubicBezTo>
                  <a:cubicBezTo>
                    <a:pt x="2210" y="4017"/>
                    <a:pt x="2218" y="3982"/>
                    <a:pt x="2224" y="3967"/>
                  </a:cubicBezTo>
                  <a:cubicBezTo>
                    <a:pt x="2231" y="3950"/>
                    <a:pt x="2236" y="3923"/>
                    <a:pt x="2238" y="3884"/>
                  </a:cubicBezTo>
                  <a:cubicBezTo>
                    <a:pt x="2240" y="3852"/>
                    <a:pt x="2243" y="3823"/>
                    <a:pt x="2245" y="3818"/>
                  </a:cubicBezTo>
                  <a:cubicBezTo>
                    <a:pt x="2249" y="3812"/>
                    <a:pt x="2256" y="3811"/>
                    <a:pt x="2279" y="3812"/>
                  </a:cubicBezTo>
                  <a:cubicBezTo>
                    <a:pt x="2295" y="3814"/>
                    <a:pt x="2315" y="3812"/>
                    <a:pt x="2324" y="3808"/>
                  </a:cubicBezTo>
                  <a:lnTo>
                    <a:pt x="2338" y="3803"/>
                  </a:lnTo>
                  <a:lnTo>
                    <a:pt x="2335" y="3614"/>
                  </a:lnTo>
                  <a:cubicBezTo>
                    <a:pt x="2333" y="3509"/>
                    <a:pt x="2330" y="3344"/>
                    <a:pt x="2327" y="3246"/>
                  </a:cubicBezTo>
                  <a:cubicBezTo>
                    <a:pt x="2324" y="3148"/>
                    <a:pt x="2318" y="2934"/>
                    <a:pt x="2314" y="2770"/>
                  </a:cubicBezTo>
                  <a:cubicBezTo>
                    <a:pt x="2304" y="2402"/>
                    <a:pt x="2289" y="2101"/>
                    <a:pt x="2276" y="2004"/>
                  </a:cubicBezTo>
                  <a:cubicBezTo>
                    <a:pt x="2273" y="1985"/>
                    <a:pt x="2267" y="1944"/>
                    <a:pt x="2263" y="1915"/>
                  </a:cubicBezTo>
                  <a:cubicBezTo>
                    <a:pt x="2259" y="1885"/>
                    <a:pt x="2254" y="1852"/>
                    <a:pt x="2253" y="1841"/>
                  </a:cubicBezTo>
                  <a:cubicBezTo>
                    <a:pt x="2251" y="1830"/>
                    <a:pt x="2248" y="1805"/>
                    <a:pt x="2245" y="1785"/>
                  </a:cubicBezTo>
                  <a:cubicBezTo>
                    <a:pt x="2235" y="1716"/>
                    <a:pt x="2225" y="1642"/>
                    <a:pt x="2222" y="1614"/>
                  </a:cubicBezTo>
                  <a:cubicBezTo>
                    <a:pt x="2218" y="1578"/>
                    <a:pt x="2152" y="1349"/>
                    <a:pt x="2140" y="1328"/>
                  </a:cubicBezTo>
                  <a:cubicBezTo>
                    <a:pt x="2132" y="1315"/>
                    <a:pt x="2115" y="1305"/>
                    <a:pt x="2031" y="1267"/>
                  </a:cubicBezTo>
                  <a:cubicBezTo>
                    <a:pt x="1977" y="1242"/>
                    <a:pt x="1846" y="1190"/>
                    <a:pt x="1741" y="1151"/>
                  </a:cubicBezTo>
                  <a:cubicBezTo>
                    <a:pt x="1566" y="1085"/>
                    <a:pt x="1547" y="1077"/>
                    <a:pt x="1514" y="1052"/>
                  </a:cubicBezTo>
                  <a:cubicBezTo>
                    <a:pt x="1453" y="1005"/>
                    <a:pt x="1416" y="970"/>
                    <a:pt x="1410" y="950"/>
                  </a:cubicBezTo>
                  <a:cubicBezTo>
                    <a:pt x="1403" y="930"/>
                    <a:pt x="1406" y="873"/>
                    <a:pt x="1416" y="811"/>
                  </a:cubicBezTo>
                  <a:cubicBezTo>
                    <a:pt x="1425" y="757"/>
                    <a:pt x="1430" y="744"/>
                    <a:pt x="1444" y="744"/>
                  </a:cubicBezTo>
                  <a:cubicBezTo>
                    <a:pt x="1471" y="744"/>
                    <a:pt x="1489" y="681"/>
                    <a:pt x="1495" y="568"/>
                  </a:cubicBezTo>
                  <a:cubicBezTo>
                    <a:pt x="1498" y="499"/>
                    <a:pt x="1498" y="494"/>
                    <a:pt x="1487" y="476"/>
                  </a:cubicBezTo>
                  <a:cubicBezTo>
                    <a:pt x="1476" y="457"/>
                    <a:pt x="1476" y="456"/>
                    <a:pt x="1483" y="388"/>
                  </a:cubicBezTo>
                  <a:cubicBezTo>
                    <a:pt x="1486" y="350"/>
                    <a:pt x="1489" y="299"/>
                    <a:pt x="1489" y="273"/>
                  </a:cubicBezTo>
                  <a:cubicBezTo>
                    <a:pt x="1489" y="209"/>
                    <a:pt x="1476" y="184"/>
                    <a:pt x="1406" y="113"/>
                  </a:cubicBezTo>
                  <a:cubicBezTo>
                    <a:pt x="1321" y="27"/>
                    <a:pt x="1272" y="8"/>
                    <a:pt x="1120" y="3"/>
                  </a:cubicBezTo>
                  <a:lnTo>
                    <a:pt x="1036" y="0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reeform 192">
              <a:extLst>
                <a:ext uri="{FF2B5EF4-FFF2-40B4-BE49-F238E27FC236}">
                  <a16:creationId xmlns:a16="http://schemas.microsoft.com/office/drawing/2014/main" id="{E6AC5BEC-1ED3-4DCC-BFE2-0CA5B65DD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215"/>
              <a:ext cx="648" cy="1892"/>
            </a:xfrm>
            <a:custGeom>
              <a:avLst/>
              <a:gdLst>
                <a:gd name="T0" fmla="*/ 719 w 2371"/>
                <a:gd name="T1" fmla="*/ 147 h 6914"/>
                <a:gd name="T2" fmla="*/ 635 w 2371"/>
                <a:gd name="T3" fmla="*/ 536 h 6914"/>
                <a:gd name="T4" fmla="*/ 732 w 2371"/>
                <a:gd name="T5" fmla="*/ 756 h 6914"/>
                <a:gd name="T6" fmla="*/ 776 w 2371"/>
                <a:gd name="T7" fmla="*/ 1022 h 6914"/>
                <a:gd name="T8" fmla="*/ 90 w 2371"/>
                <a:gd name="T9" fmla="*/ 1458 h 6914"/>
                <a:gd name="T10" fmla="*/ 16 w 2371"/>
                <a:gd name="T11" fmla="*/ 2520 h 6914"/>
                <a:gd name="T12" fmla="*/ 14 w 2371"/>
                <a:gd name="T13" fmla="*/ 3062 h 6914"/>
                <a:gd name="T14" fmla="*/ 47 w 2371"/>
                <a:gd name="T15" fmla="*/ 3413 h 6914"/>
                <a:gd name="T16" fmla="*/ 71 w 2371"/>
                <a:gd name="T17" fmla="*/ 3655 h 6914"/>
                <a:gd name="T18" fmla="*/ 112 w 2371"/>
                <a:gd name="T19" fmla="*/ 3700 h 6914"/>
                <a:gd name="T20" fmla="*/ 232 w 2371"/>
                <a:gd name="T21" fmla="*/ 3979 h 6914"/>
                <a:gd name="T22" fmla="*/ 465 w 2371"/>
                <a:gd name="T23" fmla="*/ 4036 h 6914"/>
                <a:gd name="T24" fmla="*/ 536 w 2371"/>
                <a:gd name="T25" fmla="*/ 4233 h 6914"/>
                <a:gd name="T26" fmla="*/ 735 w 2371"/>
                <a:gd name="T27" fmla="*/ 4966 h 6914"/>
                <a:gd name="T28" fmla="*/ 772 w 2371"/>
                <a:gd name="T29" fmla="*/ 5309 h 6914"/>
                <a:gd name="T30" fmla="*/ 823 w 2371"/>
                <a:gd name="T31" fmla="*/ 6128 h 6914"/>
                <a:gd name="T32" fmla="*/ 912 w 2371"/>
                <a:gd name="T33" fmla="*/ 6492 h 6914"/>
                <a:gd name="T34" fmla="*/ 775 w 2371"/>
                <a:gd name="T35" fmla="*/ 6701 h 6914"/>
                <a:gd name="T36" fmla="*/ 808 w 2371"/>
                <a:gd name="T37" fmla="*/ 6841 h 6914"/>
                <a:gd name="T38" fmla="*/ 927 w 2371"/>
                <a:gd name="T39" fmla="*/ 6889 h 6914"/>
                <a:gd name="T40" fmla="*/ 970 w 2371"/>
                <a:gd name="T41" fmla="*/ 6891 h 6914"/>
                <a:gd name="T42" fmla="*/ 1198 w 2371"/>
                <a:gd name="T43" fmla="*/ 6887 h 6914"/>
                <a:gd name="T44" fmla="*/ 1336 w 2371"/>
                <a:gd name="T45" fmla="*/ 6880 h 6914"/>
                <a:gd name="T46" fmla="*/ 1352 w 2371"/>
                <a:gd name="T47" fmla="*/ 6859 h 6914"/>
                <a:gd name="T48" fmla="*/ 1339 w 2371"/>
                <a:gd name="T49" fmla="*/ 6701 h 6914"/>
                <a:gd name="T50" fmla="*/ 1381 w 2371"/>
                <a:gd name="T51" fmla="*/ 6525 h 6914"/>
                <a:gd name="T52" fmla="*/ 1442 w 2371"/>
                <a:gd name="T53" fmla="*/ 6249 h 6914"/>
                <a:gd name="T54" fmla="*/ 1299 w 2371"/>
                <a:gd name="T55" fmla="*/ 5535 h 6914"/>
                <a:gd name="T56" fmla="*/ 1296 w 2371"/>
                <a:gd name="T57" fmla="*/ 4142 h 6914"/>
                <a:gd name="T58" fmla="*/ 1634 w 2371"/>
                <a:gd name="T59" fmla="*/ 4731 h 6914"/>
                <a:gd name="T60" fmla="*/ 1717 w 2371"/>
                <a:gd name="T61" fmla="*/ 6366 h 6914"/>
                <a:gd name="T62" fmla="*/ 1794 w 2371"/>
                <a:gd name="T63" fmla="*/ 6470 h 6914"/>
                <a:gd name="T64" fmla="*/ 1823 w 2371"/>
                <a:gd name="T65" fmla="*/ 6679 h 6914"/>
                <a:gd name="T66" fmla="*/ 1811 w 2371"/>
                <a:gd name="T67" fmla="*/ 6815 h 6914"/>
                <a:gd name="T68" fmla="*/ 1819 w 2371"/>
                <a:gd name="T69" fmla="*/ 6888 h 6914"/>
                <a:gd name="T70" fmla="*/ 1871 w 2371"/>
                <a:gd name="T71" fmla="*/ 6887 h 6914"/>
                <a:gd name="T72" fmla="*/ 1956 w 2371"/>
                <a:gd name="T73" fmla="*/ 6887 h 6914"/>
                <a:gd name="T74" fmla="*/ 2024 w 2371"/>
                <a:gd name="T75" fmla="*/ 6889 h 6914"/>
                <a:gd name="T76" fmla="*/ 2101 w 2371"/>
                <a:gd name="T77" fmla="*/ 6885 h 6914"/>
                <a:gd name="T78" fmla="*/ 2127 w 2371"/>
                <a:gd name="T79" fmla="*/ 6887 h 6914"/>
                <a:gd name="T80" fmla="*/ 2152 w 2371"/>
                <a:gd name="T81" fmla="*/ 6888 h 6914"/>
                <a:gd name="T82" fmla="*/ 2178 w 2371"/>
                <a:gd name="T83" fmla="*/ 6893 h 6914"/>
                <a:gd name="T84" fmla="*/ 2304 w 2371"/>
                <a:gd name="T85" fmla="*/ 6823 h 6914"/>
                <a:gd name="T86" fmla="*/ 2326 w 2371"/>
                <a:gd name="T87" fmla="*/ 6628 h 6914"/>
                <a:gd name="T88" fmla="*/ 2215 w 2371"/>
                <a:gd name="T89" fmla="*/ 6447 h 6914"/>
                <a:gd name="T90" fmla="*/ 2278 w 2371"/>
                <a:gd name="T91" fmla="*/ 6218 h 6914"/>
                <a:gd name="T92" fmla="*/ 2284 w 2371"/>
                <a:gd name="T93" fmla="*/ 4693 h 6914"/>
                <a:gd name="T94" fmla="*/ 2208 w 2371"/>
                <a:gd name="T95" fmla="*/ 4164 h 6914"/>
                <a:gd name="T96" fmla="*/ 2156 w 2371"/>
                <a:gd name="T97" fmla="*/ 3420 h 6914"/>
                <a:gd name="T98" fmla="*/ 2213 w 2371"/>
                <a:gd name="T99" fmla="*/ 3388 h 6914"/>
                <a:gd name="T100" fmla="*/ 2314 w 2371"/>
                <a:gd name="T101" fmla="*/ 2605 h 6914"/>
                <a:gd name="T102" fmla="*/ 2217 w 2371"/>
                <a:gd name="T103" fmla="*/ 1837 h 6914"/>
                <a:gd name="T104" fmla="*/ 2060 w 2371"/>
                <a:gd name="T105" fmla="*/ 1226 h 6914"/>
                <a:gd name="T106" fmla="*/ 1344 w 2371"/>
                <a:gd name="T107" fmla="*/ 971 h 6914"/>
                <a:gd name="T108" fmla="*/ 1385 w 2371"/>
                <a:gd name="T109" fmla="*/ 678 h 6914"/>
                <a:gd name="T110" fmla="*/ 1392 w 2371"/>
                <a:gd name="T111" fmla="*/ 378 h 6914"/>
                <a:gd name="T112" fmla="*/ 1003 w 2371"/>
                <a:gd name="T113" fmla="*/ 2 h 6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71" h="6914">
                  <a:moveTo>
                    <a:pt x="963" y="1"/>
                  </a:moveTo>
                  <a:cubicBezTo>
                    <a:pt x="930" y="2"/>
                    <a:pt x="910" y="11"/>
                    <a:pt x="836" y="46"/>
                  </a:cubicBezTo>
                  <a:cubicBezTo>
                    <a:pt x="769" y="78"/>
                    <a:pt x="760" y="86"/>
                    <a:pt x="719" y="147"/>
                  </a:cubicBezTo>
                  <a:cubicBezTo>
                    <a:pt x="680" y="207"/>
                    <a:pt x="670" y="251"/>
                    <a:pt x="662" y="403"/>
                  </a:cubicBezTo>
                  <a:cubicBezTo>
                    <a:pt x="659" y="471"/>
                    <a:pt x="658" y="476"/>
                    <a:pt x="647" y="485"/>
                  </a:cubicBezTo>
                  <a:cubicBezTo>
                    <a:pt x="636" y="493"/>
                    <a:pt x="635" y="498"/>
                    <a:pt x="635" y="536"/>
                  </a:cubicBezTo>
                  <a:cubicBezTo>
                    <a:pt x="635" y="596"/>
                    <a:pt x="653" y="668"/>
                    <a:pt x="674" y="690"/>
                  </a:cubicBezTo>
                  <a:cubicBezTo>
                    <a:pt x="682" y="700"/>
                    <a:pt x="696" y="709"/>
                    <a:pt x="705" y="711"/>
                  </a:cubicBezTo>
                  <a:cubicBezTo>
                    <a:pt x="721" y="714"/>
                    <a:pt x="732" y="732"/>
                    <a:pt x="732" y="756"/>
                  </a:cubicBezTo>
                  <a:cubicBezTo>
                    <a:pt x="732" y="771"/>
                    <a:pt x="759" y="844"/>
                    <a:pt x="779" y="882"/>
                  </a:cubicBezTo>
                  <a:cubicBezTo>
                    <a:pt x="794" y="911"/>
                    <a:pt x="795" y="917"/>
                    <a:pt x="794" y="959"/>
                  </a:cubicBezTo>
                  <a:cubicBezTo>
                    <a:pt x="793" y="1003"/>
                    <a:pt x="792" y="1005"/>
                    <a:pt x="776" y="1022"/>
                  </a:cubicBezTo>
                  <a:cubicBezTo>
                    <a:pt x="753" y="1045"/>
                    <a:pt x="518" y="1163"/>
                    <a:pt x="309" y="1256"/>
                  </a:cubicBezTo>
                  <a:cubicBezTo>
                    <a:pt x="223" y="1294"/>
                    <a:pt x="148" y="1334"/>
                    <a:pt x="123" y="1356"/>
                  </a:cubicBezTo>
                  <a:cubicBezTo>
                    <a:pt x="105" y="1372"/>
                    <a:pt x="104" y="1373"/>
                    <a:pt x="90" y="1458"/>
                  </a:cubicBezTo>
                  <a:cubicBezTo>
                    <a:pt x="57" y="1649"/>
                    <a:pt x="49" y="1715"/>
                    <a:pt x="49" y="1813"/>
                  </a:cubicBezTo>
                  <a:cubicBezTo>
                    <a:pt x="49" y="2048"/>
                    <a:pt x="38" y="2350"/>
                    <a:pt x="27" y="2430"/>
                  </a:cubicBezTo>
                  <a:cubicBezTo>
                    <a:pt x="26" y="2439"/>
                    <a:pt x="21" y="2479"/>
                    <a:pt x="16" y="2520"/>
                  </a:cubicBezTo>
                  <a:cubicBezTo>
                    <a:pt x="12" y="2560"/>
                    <a:pt x="6" y="2602"/>
                    <a:pt x="4" y="2611"/>
                  </a:cubicBezTo>
                  <a:cubicBezTo>
                    <a:pt x="0" y="2633"/>
                    <a:pt x="1" y="2849"/>
                    <a:pt x="6" y="2914"/>
                  </a:cubicBezTo>
                  <a:cubicBezTo>
                    <a:pt x="7" y="2939"/>
                    <a:pt x="11" y="3006"/>
                    <a:pt x="14" y="3062"/>
                  </a:cubicBezTo>
                  <a:cubicBezTo>
                    <a:pt x="18" y="3152"/>
                    <a:pt x="20" y="3177"/>
                    <a:pt x="27" y="3232"/>
                  </a:cubicBezTo>
                  <a:cubicBezTo>
                    <a:pt x="28" y="3239"/>
                    <a:pt x="32" y="3280"/>
                    <a:pt x="37" y="3322"/>
                  </a:cubicBezTo>
                  <a:cubicBezTo>
                    <a:pt x="41" y="3364"/>
                    <a:pt x="46" y="3405"/>
                    <a:pt x="47" y="3413"/>
                  </a:cubicBezTo>
                  <a:cubicBezTo>
                    <a:pt x="48" y="3422"/>
                    <a:pt x="53" y="3469"/>
                    <a:pt x="57" y="3520"/>
                  </a:cubicBezTo>
                  <a:cubicBezTo>
                    <a:pt x="62" y="3570"/>
                    <a:pt x="66" y="3621"/>
                    <a:pt x="68" y="3633"/>
                  </a:cubicBezTo>
                  <a:lnTo>
                    <a:pt x="71" y="3655"/>
                  </a:lnTo>
                  <a:lnTo>
                    <a:pt x="92" y="3655"/>
                  </a:lnTo>
                  <a:lnTo>
                    <a:pt x="114" y="3655"/>
                  </a:lnTo>
                  <a:lnTo>
                    <a:pt x="112" y="3700"/>
                  </a:lnTo>
                  <a:cubicBezTo>
                    <a:pt x="109" y="3740"/>
                    <a:pt x="111" y="3750"/>
                    <a:pt x="126" y="3797"/>
                  </a:cubicBezTo>
                  <a:cubicBezTo>
                    <a:pt x="139" y="3839"/>
                    <a:pt x="149" y="3859"/>
                    <a:pt x="182" y="3908"/>
                  </a:cubicBezTo>
                  <a:cubicBezTo>
                    <a:pt x="204" y="3941"/>
                    <a:pt x="226" y="3973"/>
                    <a:pt x="232" y="3979"/>
                  </a:cubicBezTo>
                  <a:cubicBezTo>
                    <a:pt x="249" y="3997"/>
                    <a:pt x="287" y="4012"/>
                    <a:pt x="339" y="4019"/>
                  </a:cubicBezTo>
                  <a:cubicBezTo>
                    <a:pt x="365" y="4023"/>
                    <a:pt x="389" y="4028"/>
                    <a:pt x="392" y="4029"/>
                  </a:cubicBezTo>
                  <a:cubicBezTo>
                    <a:pt x="395" y="4031"/>
                    <a:pt x="427" y="4034"/>
                    <a:pt x="465" y="4036"/>
                  </a:cubicBezTo>
                  <a:lnTo>
                    <a:pt x="535" y="4039"/>
                  </a:lnTo>
                  <a:lnTo>
                    <a:pt x="536" y="4136"/>
                  </a:lnTo>
                  <a:lnTo>
                    <a:pt x="536" y="4233"/>
                  </a:lnTo>
                  <a:lnTo>
                    <a:pt x="604" y="4481"/>
                  </a:lnTo>
                  <a:cubicBezTo>
                    <a:pt x="641" y="4618"/>
                    <a:pt x="672" y="4731"/>
                    <a:pt x="673" y="4733"/>
                  </a:cubicBezTo>
                  <a:cubicBezTo>
                    <a:pt x="676" y="4737"/>
                    <a:pt x="718" y="4897"/>
                    <a:pt x="735" y="4966"/>
                  </a:cubicBezTo>
                  <a:cubicBezTo>
                    <a:pt x="743" y="4999"/>
                    <a:pt x="749" y="5043"/>
                    <a:pt x="752" y="5093"/>
                  </a:cubicBezTo>
                  <a:cubicBezTo>
                    <a:pt x="755" y="5135"/>
                    <a:pt x="758" y="5176"/>
                    <a:pt x="760" y="5184"/>
                  </a:cubicBezTo>
                  <a:cubicBezTo>
                    <a:pt x="761" y="5193"/>
                    <a:pt x="766" y="5249"/>
                    <a:pt x="772" y="5309"/>
                  </a:cubicBezTo>
                  <a:cubicBezTo>
                    <a:pt x="778" y="5369"/>
                    <a:pt x="784" y="5425"/>
                    <a:pt x="786" y="5433"/>
                  </a:cubicBezTo>
                  <a:cubicBezTo>
                    <a:pt x="805" y="5566"/>
                    <a:pt x="811" y="5660"/>
                    <a:pt x="809" y="5798"/>
                  </a:cubicBezTo>
                  <a:cubicBezTo>
                    <a:pt x="808" y="5960"/>
                    <a:pt x="814" y="6111"/>
                    <a:pt x="823" y="6128"/>
                  </a:cubicBezTo>
                  <a:cubicBezTo>
                    <a:pt x="826" y="6134"/>
                    <a:pt x="841" y="6152"/>
                    <a:pt x="856" y="6169"/>
                  </a:cubicBezTo>
                  <a:cubicBezTo>
                    <a:pt x="887" y="6204"/>
                    <a:pt x="894" y="6224"/>
                    <a:pt x="909" y="6327"/>
                  </a:cubicBezTo>
                  <a:cubicBezTo>
                    <a:pt x="922" y="6408"/>
                    <a:pt x="922" y="6433"/>
                    <a:pt x="912" y="6492"/>
                  </a:cubicBezTo>
                  <a:cubicBezTo>
                    <a:pt x="902" y="6552"/>
                    <a:pt x="899" y="6558"/>
                    <a:pt x="865" y="6594"/>
                  </a:cubicBezTo>
                  <a:cubicBezTo>
                    <a:pt x="849" y="6611"/>
                    <a:pt x="822" y="6642"/>
                    <a:pt x="805" y="6663"/>
                  </a:cubicBezTo>
                  <a:lnTo>
                    <a:pt x="775" y="6701"/>
                  </a:lnTo>
                  <a:lnTo>
                    <a:pt x="775" y="6740"/>
                  </a:lnTo>
                  <a:cubicBezTo>
                    <a:pt x="775" y="6775"/>
                    <a:pt x="777" y="6782"/>
                    <a:pt x="791" y="6805"/>
                  </a:cubicBezTo>
                  <a:cubicBezTo>
                    <a:pt x="800" y="6820"/>
                    <a:pt x="808" y="6836"/>
                    <a:pt x="808" y="6841"/>
                  </a:cubicBezTo>
                  <a:cubicBezTo>
                    <a:pt x="808" y="6846"/>
                    <a:pt x="812" y="6855"/>
                    <a:pt x="817" y="6861"/>
                  </a:cubicBezTo>
                  <a:cubicBezTo>
                    <a:pt x="824" y="6871"/>
                    <a:pt x="835" y="6873"/>
                    <a:pt x="878" y="6878"/>
                  </a:cubicBezTo>
                  <a:cubicBezTo>
                    <a:pt x="908" y="6881"/>
                    <a:pt x="928" y="6886"/>
                    <a:pt x="927" y="6889"/>
                  </a:cubicBezTo>
                  <a:cubicBezTo>
                    <a:pt x="925" y="6892"/>
                    <a:pt x="930" y="6891"/>
                    <a:pt x="940" y="6889"/>
                  </a:cubicBezTo>
                  <a:cubicBezTo>
                    <a:pt x="950" y="6887"/>
                    <a:pt x="959" y="6888"/>
                    <a:pt x="964" y="6893"/>
                  </a:cubicBezTo>
                  <a:cubicBezTo>
                    <a:pt x="972" y="6898"/>
                    <a:pt x="973" y="6899"/>
                    <a:pt x="970" y="6891"/>
                  </a:cubicBezTo>
                  <a:cubicBezTo>
                    <a:pt x="966" y="6881"/>
                    <a:pt x="973" y="6874"/>
                    <a:pt x="978" y="6882"/>
                  </a:cubicBezTo>
                  <a:cubicBezTo>
                    <a:pt x="981" y="6887"/>
                    <a:pt x="1010" y="6888"/>
                    <a:pt x="1116" y="6887"/>
                  </a:cubicBezTo>
                  <a:cubicBezTo>
                    <a:pt x="1122" y="6887"/>
                    <a:pt x="1158" y="6887"/>
                    <a:pt x="1198" y="6887"/>
                  </a:cubicBezTo>
                  <a:cubicBezTo>
                    <a:pt x="1237" y="6886"/>
                    <a:pt x="1283" y="6888"/>
                    <a:pt x="1300" y="6889"/>
                  </a:cubicBezTo>
                  <a:cubicBezTo>
                    <a:pt x="1329" y="6892"/>
                    <a:pt x="1332" y="6891"/>
                    <a:pt x="1332" y="6883"/>
                  </a:cubicBezTo>
                  <a:cubicBezTo>
                    <a:pt x="1332" y="6878"/>
                    <a:pt x="1334" y="6877"/>
                    <a:pt x="1336" y="6880"/>
                  </a:cubicBezTo>
                  <a:cubicBezTo>
                    <a:pt x="1338" y="6883"/>
                    <a:pt x="1348" y="6887"/>
                    <a:pt x="1357" y="6889"/>
                  </a:cubicBezTo>
                  <a:cubicBezTo>
                    <a:pt x="1373" y="6892"/>
                    <a:pt x="1373" y="6892"/>
                    <a:pt x="1367" y="6881"/>
                  </a:cubicBezTo>
                  <a:cubicBezTo>
                    <a:pt x="1364" y="6874"/>
                    <a:pt x="1357" y="6864"/>
                    <a:pt x="1352" y="6859"/>
                  </a:cubicBezTo>
                  <a:cubicBezTo>
                    <a:pt x="1345" y="6851"/>
                    <a:pt x="1343" y="6839"/>
                    <a:pt x="1342" y="6795"/>
                  </a:cubicBezTo>
                  <a:cubicBezTo>
                    <a:pt x="1342" y="6766"/>
                    <a:pt x="1339" y="6735"/>
                    <a:pt x="1337" y="6727"/>
                  </a:cubicBezTo>
                  <a:cubicBezTo>
                    <a:pt x="1334" y="6716"/>
                    <a:pt x="1335" y="6708"/>
                    <a:pt x="1339" y="6701"/>
                  </a:cubicBezTo>
                  <a:cubicBezTo>
                    <a:pt x="1344" y="6694"/>
                    <a:pt x="1347" y="6669"/>
                    <a:pt x="1348" y="6624"/>
                  </a:cubicBezTo>
                  <a:lnTo>
                    <a:pt x="1351" y="6556"/>
                  </a:lnTo>
                  <a:lnTo>
                    <a:pt x="1381" y="6525"/>
                  </a:lnTo>
                  <a:lnTo>
                    <a:pt x="1412" y="6496"/>
                  </a:lnTo>
                  <a:lnTo>
                    <a:pt x="1423" y="6438"/>
                  </a:lnTo>
                  <a:cubicBezTo>
                    <a:pt x="1440" y="6345"/>
                    <a:pt x="1446" y="6292"/>
                    <a:pt x="1442" y="6249"/>
                  </a:cubicBezTo>
                  <a:cubicBezTo>
                    <a:pt x="1439" y="6211"/>
                    <a:pt x="1393" y="6018"/>
                    <a:pt x="1350" y="5866"/>
                  </a:cubicBezTo>
                  <a:cubicBezTo>
                    <a:pt x="1320" y="5759"/>
                    <a:pt x="1318" y="5746"/>
                    <a:pt x="1310" y="5649"/>
                  </a:cubicBezTo>
                  <a:cubicBezTo>
                    <a:pt x="1305" y="5597"/>
                    <a:pt x="1300" y="5546"/>
                    <a:pt x="1299" y="5535"/>
                  </a:cubicBezTo>
                  <a:cubicBezTo>
                    <a:pt x="1298" y="5524"/>
                    <a:pt x="1293" y="5451"/>
                    <a:pt x="1289" y="5373"/>
                  </a:cubicBezTo>
                  <a:cubicBezTo>
                    <a:pt x="1282" y="5245"/>
                    <a:pt x="1282" y="5218"/>
                    <a:pt x="1289" y="5121"/>
                  </a:cubicBezTo>
                  <a:cubicBezTo>
                    <a:pt x="1300" y="4962"/>
                    <a:pt x="1305" y="4318"/>
                    <a:pt x="1296" y="4142"/>
                  </a:cubicBezTo>
                  <a:cubicBezTo>
                    <a:pt x="1289" y="3998"/>
                    <a:pt x="1290" y="3988"/>
                    <a:pt x="1314" y="4011"/>
                  </a:cubicBezTo>
                  <a:cubicBezTo>
                    <a:pt x="1339" y="4034"/>
                    <a:pt x="1357" y="4071"/>
                    <a:pt x="1445" y="4273"/>
                  </a:cubicBezTo>
                  <a:cubicBezTo>
                    <a:pt x="1522" y="4448"/>
                    <a:pt x="1552" y="4521"/>
                    <a:pt x="1634" y="4731"/>
                  </a:cubicBezTo>
                  <a:cubicBezTo>
                    <a:pt x="1647" y="4765"/>
                    <a:pt x="1647" y="4755"/>
                    <a:pt x="1632" y="4999"/>
                  </a:cubicBezTo>
                  <a:cubicBezTo>
                    <a:pt x="1616" y="5239"/>
                    <a:pt x="1628" y="5810"/>
                    <a:pt x="1656" y="6135"/>
                  </a:cubicBezTo>
                  <a:cubicBezTo>
                    <a:pt x="1661" y="6195"/>
                    <a:pt x="1680" y="6265"/>
                    <a:pt x="1717" y="6366"/>
                  </a:cubicBezTo>
                  <a:lnTo>
                    <a:pt x="1756" y="6470"/>
                  </a:lnTo>
                  <a:lnTo>
                    <a:pt x="1775" y="6470"/>
                  </a:lnTo>
                  <a:lnTo>
                    <a:pt x="1794" y="6470"/>
                  </a:lnTo>
                  <a:lnTo>
                    <a:pt x="1797" y="6531"/>
                  </a:lnTo>
                  <a:cubicBezTo>
                    <a:pt x="1799" y="6565"/>
                    <a:pt x="1801" y="6607"/>
                    <a:pt x="1801" y="6625"/>
                  </a:cubicBezTo>
                  <a:cubicBezTo>
                    <a:pt x="1801" y="6655"/>
                    <a:pt x="1802" y="6658"/>
                    <a:pt x="1823" y="6679"/>
                  </a:cubicBezTo>
                  <a:cubicBezTo>
                    <a:pt x="1837" y="6694"/>
                    <a:pt x="1842" y="6701"/>
                    <a:pt x="1837" y="6702"/>
                  </a:cubicBezTo>
                  <a:cubicBezTo>
                    <a:pt x="1833" y="6704"/>
                    <a:pt x="1826" y="6709"/>
                    <a:pt x="1821" y="6714"/>
                  </a:cubicBezTo>
                  <a:cubicBezTo>
                    <a:pt x="1812" y="6723"/>
                    <a:pt x="1811" y="6733"/>
                    <a:pt x="1811" y="6815"/>
                  </a:cubicBezTo>
                  <a:cubicBezTo>
                    <a:pt x="1811" y="6865"/>
                    <a:pt x="1812" y="6907"/>
                    <a:pt x="1814" y="6909"/>
                  </a:cubicBezTo>
                  <a:cubicBezTo>
                    <a:pt x="1819" y="6914"/>
                    <a:pt x="1820" y="6913"/>
                    <a:pt x="1817" y="6899"/>
                  </a:cubicBezTo>
                  <a:cubicBezTo>
                    <a:pt x="1816" y="6891"/>
                    <a:pt x="1816" y="6886"/>
                    <a:pt x="1819" y="6888"/>
                  </a:cubicBezTo>
                  <a:cubicBezTo>
                    <a:pt x="1821" y="6890"/>
                    <a:pt x="1827" y="6889"/>
                    <a:pt x="1832" y="6887"/>
                  </a:cubicBezTo>
                  <a:cubicBezTo>
                    <a:pt x="1838" y="6883"/>
                    <a:pt x="1844" y="6884"/>
                    <a:pt x="1850" y="6887"/>
                  </a:cubicBezTo>
                  <a:cubicBezTo>
                    <a:pt x="1855" y="6890"/>
                    <a:pt x="1864" y="6889"/>
                    <a:pt x="1871" y="6887"/>
                  </a:cubicBezTo>
                  <a:cubicBezTo>
                    <a:pt x="1878" y="6884"/>
                    <a:pt x="1886" y="6883"/>
                    <a:pt x="1889" y="6885"/>
                  </a:cubicBezTo>
                  <a:cubicBezTo>
                    <a:pt x="1898" y="6891"/>
                    <a:pt x="1940" y="6892"/>
                    <a:pt x="1946" y="6887"/>
                  </a:cubicBezTo>
                  <a:cubicBezTo>
                    <a:pt x="1951" y="6883"/>
                    <a:pt x="1954" y="6883"/>
                    <a:pt x="1956" y="6887"/>
                  </a:cubicBezTo>
                  <a:cubicBezTo>
                    <a:pt x="1958" y="6890"/>
                    <a:pt x="1964" y="6889"/>
                    <a:pt x="1974" y="6886"/>
                  </a:cubicBezTo>
                  <a:cubicBezTo>
                    <a:pt x="1985" y="6882"/>
                    <a:pt x="1993" y="6883"/>
                    <a:pt x="2005" y="6887"/>
                  </a:cubicBezTo>
                  <a:cubicBezTo>
                    <a:pt x="2016" y="6892"/>
                    <a:pt x="2022" y="6892"/>
                    <a:pt x="2024" y="6889"/>
                  </a:cubicBezTo>
                  <a:cubicBezTo>
                    <a:pt x="2028" y="6882"/>
                    <a:pt x="2082" y="6882"/>
                    <a:pt x="2087" y="6889"/>
                  </a:cubicBezTo>
                  <a:cubicBezTo>
                    <a:pt x="2089" y="6892"/>
                    <a:pt x="2092" y="6892"/>
                    <a:pt x="2096" y="6887"/>
                  </a:cubicBezTo>
                  <a:cubicBezTo>
                    <a:pt x="2099" y="6882"/>
                    <a:pt x="2101" y="6881"/>
                    <a:pt x="2101" y="6885"/>
                  </a:cubicBezTo>
                  <a:cubicBezTo>
                    <a:pt x="2101" y="6890"/>
                    <a:pt x="2104" y="6890"/>
                    <a:pt x="2114" y="6887"/>
                  </a:cubicBezTo>
                  <a:cubicBezTo>
                    <a:pt x="2121" y="6884"/>
                    <a:pt x="2129" y="6883"/>
                    <a:pt x="2131" y="6885"/>
                  </a:cubicBezTo>
                  <a:cubicBezTo>
                    <a:pt x="2132" y="6886"/>
                    <a:pt x="2130" y="6887"/>
                    <a:pt x="2127" y="6887"/>
                  </a:cubicBezTo>
                  <a:cubicBezTo>
                    <a:pt x="2123" y="6887"/>
                    <a:pt x="2121" y="6888"/>
                    <a:pt x="2122" y="6890"/>
                  </a:cubicBezTo>
                  <a:cubicBezTo>
                    <a:pt x="2124" y="6891"/>
                    <a:pt x="2131" y="6890"/>
                    <a:pt x="2139" y="6887"/>
                  </a:cubicBezTo>
                  <a:cubicBezTo>
                    <a:pt x="2148" y="6884"/>
                    <a:pt x="2152" y="6884"/>
                    <a:pt x="2152" y="6888"/>
                  </a:cubicBezTo>
                  <a:cubicBezTo>
                    <a:pt x="2152" y="6892"/>
                    <a:pt x="2153" y="6893"/>
                    <a:pt x="2158" y="6888"/>
                  </a:cubicBezTo>
                  <a:cubicBezTo>
                    <a:pt x="2166" y="6879"/>
                    <a:pt x="2172" y="6880"/>
                    <a:pt x="2172" y="6891"/>
                  </a:cubicBezTo>
                  <a:cubicBezTo>
                    <a:pt x="2172" y="6897"/>
                    <a:pt x="2174" y="6898"/>
                    <a:pt x="2178" y="6893"/>
                  </a:cubicBezTo>
                  <a:cubicBezTo>
                    <a:pt x="2182" y="6890"/>
                    <a:pt x="2188" y="6887"/>
                    <a:pt x="2193" y="6887"/>
                  </a:cubicBezTo>
                  <a:cubicBezTo>
                    <a:pt x="2198" y="6887"/>
                    <a:pt x="2208" y="6878"/>
                    <a:pt x="2216" y="6867"/>
                  </a:cubicBezTo>
                  <a:cubicBezTo>
                    <a:pt x="2231" y="6846"/>
                    <a:pt x="2265" y="6829"/>
                    <a:pt x="2304" y="6823"/>
                  </a:cubicBezTo>
                  <a:cubicBezTo>
                    <a:pt x="2317" y="6821"/>
                    <a:pt x="2332" y="6813"/>
                    <a:pt x="2347" y="6798"/>
                  </a:cubicBezTo>
                  <a:cubicBezTo>
                    <a:pt x="2370" y="6777"/>
                    <a:pt x="2371" y="6776"/>
                    <a:pt x="2371" y="6745"/>
                  </a:cubicBezTo>
                  <a:cubicBezTo>
                    <a:pt x="2371" y="6701"/>
                    <a:pt x="2351" y="6650"/>
                    <a:pt x="2326" y="6628"/>
                  </a:cubicBezTo>
                  <a:cubicBezTo>
                    <a:pt x="2246" y="6557"/>
                    <a:pt x="2233" y="6544"/>
                    <a:pt x="2220" y="6518"/>
                  </a:cubicBezTo>
                  <a:cubicBezTo>
                    <a:pt x="2213" y="6503"/>
                    <a:pt x="2205" y="6482"/>
                    <a:pt x="2203" y="6472"/>
                  </a:cubicBezTo>
                  <a:cubicBezTo>
                    <a:pt x="2199" y="6455"/>
                    <a:pt x="2200" y="6454"/>
                    <a:pt x="2215" y="6447"/>
                  </a:cubicBezTo>
                  <a:cubicBezTo>
                    <a:pt x="2231" y="6441"/>
                    <a:pt x="2232" y="6437"/>
                    <a:pt x="2245" y="6386"/>
                  </a:cubicBezTo>
                  <a:cubicBezTo>
                    <a:pt x="2253" y="6357"/>
                    <a:pt x="2259" y="6319"/>
                    <a:pt x="2259" y="6303"/>
                  </a:cubicBezTo>
                  <a:cubicBezTo>
                    <a:pt x="2259" y="6281"/>
                    <a:pt x="2264" y="6258"/>
                    <a:pt x="2278" y="6218"/>
                  </a:cubicBezTo>
                  <a:cubicBezTo>
                    <a:pt x="2292" y="6180"/>
                    <a:pt x="2300" y="6147"/>
                    <a:pt x="2304" y="6111"/>
                  </a:cubicBezTo>
                  <a:cubicBezTo>
                    <a:pt x="2312" y="6042"/>
                    <a:pt x="2309" y="4900"/>
                    <a:pt x="2300" y="4836"/>
                  </a:cubicBezTo>
                  <a:cubicBezTo>
                    <a:pt x="2297" y="4812"/>
                    <a:pt x="2290" y="4748"/>
                    <a:pt x="2284" y="4693"/>
                  </a:cubicBezTo>
                  <a:cubicBezTo>
                    <a:pt x="2265" y="4502"/>
                    <a:pt x="2259" y="4451"/>
                    <a:pt x="2251" y="4410"/>
                  </a:cubicBezTo>
                  <a:cubicBezTo>
                    <a:pt x="2247" y="4388"/>
                    <a:pt x="2240" y="4349"/>
                    <a:pt x="2235" y="4324"/>
                  </a:cubicBezTo>
                  <a:cubicBezTo>
                    <a:pt x="2231" y="4299"/>
                    <a:pt x="2219" y="4227"/>
                    <a:pt x="2208" y="4164"/>
                  </a:cubicBezTo>
                  <a:cubicBezTo>
                    <a:pt x="2146" y="3818"/>
                    <a:pt x="2136" y="3755"/>
                    <a:pt x="2141" y="3731"/>
                  </a:cubicBezTo>
                  <a:cubicBezTo>
                    <a:pt x="2156" y="3666"/>
                    <a:pt x="2163" y="3585"/>
                    <a:pt x="2159" y="3517"/>
                  </a:cubicBezTo>
                  <a:cubicBezTo>
                    <a:pt x="2157" y="3479"/>
                    <a:pt x="2156" y="3436"/>
                    <a:pt x="2156" y="3420"/>
                  </a:cubicBezTo>
                  <a:lnTo>
                    <a:pt x="2156" y="3393"/>
                  </a:lnTo>
                  <a:lnTo>
                    <a:pt x="2184" y="3391"/>
                  </a:lnTo>
                  <a:cubicBezTo>
                    <a:pt x="2200" y="3390"/>
                    <a:pt x="2213" y="3389"/>
                    <a:pt x="2213" y="3388"/>
                  </a:cubicBezTo>
                  <a:cubicBezTo>
                    <a:pt x="2213" y="3387"/>
                    <a:pt x="2235" y="3256"/>
                    <a:pt x="2262" y="3097"/>
                  </a:cubicBezTo>
                  <a:lnTo>
                    <a:pt x="2312" y="2807"/>
                  </a:lnTo>
                  <a:lnTo>
                    <a:pt x="2314" y="2605"/>
                  </a:lnTo>
                  <a:cubicBezTo>
                    <a:pt x="2315" y="2405"/>
                    <a:pt x="2315" y="2401"/>
                    <a:pt x="2302" y="2335"/>
                  </a:cubicBezTo>
                  <a:cubicBezTo>
                    <a:pt x="2295" y="2298"/>
                    <a:pt x="2285" y="2237"/>
                    <a:pt x="2279" y="2199"/>
                  </a:cubicBezTo>
                  <a:cubicBezTo>
                    <a:pt x="2262" y="2091"/>
                    <a:pt x="2229" y="1896"/>
                    <a:pt x="2217" y="1837"/>
                  </a:cubicBezTo>
                  <a:cubicBezTo>
                    <a:pt x="2192" y="1706"/>
                    <a:pt x="2187" y="1667"/>
                    <a:pt x="2180" y="1586"/>
                  </a:cubicBezTo>
                  <a:cubicBezTo>
                    <a:pt x="2174" y="1504"/>
                    <a:pt x="2172" y="1495"/>
                    <a:pt x="2149" y="1431"/>
                  </a:cubicBezTo>
                  <a:cubicBezTo>
                    <a:pt x="2118" y="1342"/>
                    <a:pt x="2077" y="1246"/>
                    <a:pt x="2060" y="1226"/>
                  </a:cubicBezTo>
                  <a:cubicBezTo>
                    <a:pt x="2048" y="1212"/>
                    <a:pt x="2033" y="1207"/>
                    <a:pt x="1813" y="1148"/>
                  </a:cubicBezTo>
                  <a:cubicBezTo>
                    <a:pt x="1684" y="1113"/>
                    <a:pt x="1551" y="1077"/>
                    <a:pt x="1516" y="1069"/>
                  </a:cubicBezTo>
                  <a:cubicBezTo>
                    <a:pt x="1405" y="1044"/>
                    <a:pt x="1387" y="1034"/>
                    <a:pt x="1344" y="971"/>
                  </a:cubicBezTo>
                  <a:cubicBezTo>
                    <a:pt x="1316" y="930"/>
                    <a:pt x="1311" y="903"/>
                    <a:pt x="1325" y="857"/>
                  </a:cubicBezTo>
                  <a:cubicBezTo>
                    <a:pt x="1330" y="841"/>
                    <a:pt x="1335" y="810"/>
                    <a:pt x="1337" y="788"/>
                  </a:cubicBezTo>
                  <a:cubicBezTo>
                    <a:pt x="1342" y="745"/>
                    <a:pt x="1347" y="732"/>
                    <a:pt x="1385" y="678"/>
                  </a:cubicBezTo>
                  <a:cubicBezTo>
                    <a:pt x="1407" y="646"/>
                    <a:pt x="1409" y="640"/>
                    <a:pt x="1414" y="600"/>
                  </a:cubicBezTo>
                  <a:cubicBezTo>
                    <a:pt x="1422" y="531"/>
                    <a:pt x="1420" y="514"/>
                    <a:pt x="1405" y="492"/>
                  </a:cubicBezTo>
                  <a:cubicBezTo>
                    <a:pt x="1392" y="472"/>
                    <a:pt x="1392" y="472"/>
                    <a:pt x="1392" y="378"/>
                  </a:cubicBezTo>
                  <a:cubicBezTo>
                    <a:pt x="1393" y="286"/>
                    <a:pt x="1393" y="284"/>
                    <a:pt x="1378" y="238"/>
                  </a:cubicBezTo>
                  <a:cubicBezTo>
                    <a:pt x="1354" y="167"/>
                    <a:pt x="1339" y="139"/>
                    <a:pt x="1309" y="110"/>
                  </a:cubicBezTo>
                  <a:cubicBezTo>
                    <a:pt x="1244" y="46"/>
                    <a:pt x="1140" y="9"/>
                    <a:pt x="1003" y="2"/>
                  </a:cubicBezTo>
                  <a:cubicBezTo>
                    <a:pt x="986" y="1"/>
                    <a:pt x="974" y="0"/>
                    <a:pt x="963" y="1"/>
                  </a:cubicBez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reeform 193">
              <a:extLst>
                <a:ext uri="{FF2B5EF4-FFF2-40B4-BE49-F238E27FC236}">
                  <a16:creationId xmlns:a16="http://schemas.microsoft.com/office/drawing/2014/main" id="{BE92AC47-FB1E-4D60-B433-1BB4D02D32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" y="2184"/>
              <a:ext cx="597" cy="2048"/>
            </a:xfrm>
            <a:custGeom>
              <a:avLst/>
              <a:gdLst>
                <a:gd name="T0" fmla="*/ 936 w 2187"/>
                <a:gd name="T1" fmla="*/ 3 h 7485"/>
                <a:gd name="T2" fmla="*/ 590 w 2187"/>
                <a:gd name="T3" fmla="*/ 205 h 7485"/>
                <a:gd name="T4" fmla="*/ 612 w 2187"/>
                <a:gd name="T5" fmla="*/ 571 h 7485"/>
                <a:gd name="T6" fmla="*/ 661 w 2187"/>
                <a:gd name="T7" fmla="*/ 795 h 7485"/>
                <a:gd name="T8" fmla="*/ 754 w 2187"/>
                <a:gd name="T9" fmla="*/ 996 h 7485"/>
                <a:gd name="T10" fmla="*/ 488 w 2187"/>
                <a:gd name="T11" fmla="*/ 1290 h 7485"/>
                <a:gd name="T12" fmla="*/ 208 w 2187"/>
                <a:gd name="T13" fmla="*/ 1784 h 7485"/>
                <a:gd name="T14" fmla="*/ 169 w 2187"/>
                <a:gd name="T15" fmla="*/ 3102 h 7485"/>
                <a:gd name="T16" fmla="*/ 324 w 2187"/>
                <a:gd name="T17" fmla="*/ 3348 h 7485"/>
                <a:gd name="T18" fmla="*/ 365 w 2187"/>
                <a:gd name="T19" fmla="*/ 3806 h 7485"/>
                <a:gd name="T20" fmla="*/ 407 w 2187"/>
                <a:gd name="T21" fmla="*/ 4126 h 7485"/>
                <a:gd name="T22" fmla="*/ 568 w 2187"/>
                <a:gd name="T23" fmla="*/ 5124 h 7485"/>
                <a:gd name="T24" fmla="*/ 620 w 2187"/>
                <a:gd name="T25" fmla="*/ 5686 h 7485"/>
                <a:gd name="T26" fmla="*/ 497 w 2187"/>
                <a:gd name="T27" fmla="*/ 6421 h 7485"/>
                <a:gd name="T28" fmla="*/ 469 w 2187"/>
                <a:gd name="T29" fmla="*/ 6508 h 7485"/>
                <a:gd name="T30" fmla="*/ 368 w 2187"/>
                <a:gd name="T31" fmla="*/ 6644 h 7485"/>
                <a:gd name="T32" fmla="*/ 21 w 2187"/>
                <a:gd name="T33" fmla="*/ 6819 h 7485"/>
                <a:gd name="T34" fmla="*/ 51 w 2187"/>
                <a:gd name="T35" fmla="*/ 6950 h 7485"/>
                <a:gd name="T36" fmla="*/ 530 w 2187"/>
                <a:gd name="T37" fmla="*/ 6877 h 7485"/>
                <a:gd name="T38" fmla="*/ 656 w 2187"/>
                <a:gd name="T39" fmla="*/ 6823 h 7485"/>
                <a:gd name="T40" fmla="*/ 885 w 2187"/>
                <a:gd name="T41" fmla="*/ 6816 h 7485"/>
                <a:gd name="T42" fmla="*/ 990 w 2187"/>
                <a:gd name="T43" fmla="*/ 6747 h 7485"/>
                <a:gd name="T44" fmla="*/ 1055 w 2187"/>
                <a:gd name="T45" fmla="*/ 6542 h 7485"/>
                <a:gd name="T46" fmla="*/ 1079 w 2187"/>
                <a:gd name="T47" fmla="*/ 6285 h 7485"/>
                <a:gd name="T48" fmla="*/ 1118 w 2187"/>
                <a:gd name="T49" fmla="*/ 5297 h 7485"/>
                <a:gd name="T50" fmla="*/ 1148 w 2187"/>
                <a:gd name="T51" fmla="*/ 4985 h 7485"/>
                <a:gd name="T52" fmla="*/ 1163 w 2187"/>
                <a:gd name="T53" fmla="*/ 4731 h 7485"/>
                <a:gd name="T54" fmla="*/ 1431 w 2187"/>
                <a:gd name="T55" fmla="*/ 5607 h 7485"/>
                <a:gd name="T56" fmla="*/ 1487 w 2187"/>
                <a:gd name="T57" fmla="*/ 6011 h 7485"/>
                <a:gd name="T58" fmla="*/ 1528 w 2187"/>
                <a:gd name="T59" fmla="*/ 6517 h 7485"/>
                <a:gd name="T60" fmla="*/ 1604 w 2187"/>
                <a:gd name="T61" fmla="*/ 6855 h 7485"/>
                <a:gd name="T62" fmla="*/ 1657 w 2187"/>
                <a:gd name="T63" fmla="*/ 6925 h 7485"/>
                <a:gd name="T64" fmla="*/ 1470 w 2187"/>
                <a:gd name="T65" fmla="*/ 7227 h 7485"/>
                <a:gd name="T66" fmla="*/ 1367 w 2187"/>
                <a:gd name="T67" fmla="*/ 7412 h 7485"/>
                <a:gd name="T68" fmla="*/ 1567 w 2187"/>
                <a:gd name="T69" fmla="*/ 7481 h 7485"/>
                <a:gd name="T70" fmla="*/ 1885 w 2187"/>
                <a:gd name="T71" fmla="*/ 7409 h 7485"/>
                <a:gd name="T72" fmla="*/ 2051 w 2187"/>
                <a:gd name="T73" fmla="*/ 7255 h 7485"/>
                <a:gd name="T74" fmla="*/ 2123 w 2187"/>
                <a:gd name="T75" fmla="*/ 7219 h 7485"/>
                <a:gd name="T76" fmla="*/ 2183 w 2187"/>
                <a:gd name="T77" fmla="*/ 7033 h 7485"/>
                <a:gd name="T78" fmla="*/ 2144 w 2187"/>
                <a:gd name="T79" fmla="*/ 6857 h 7485"/>
                <a:gd name="T80" fmla="*/ 2151 w 2187"/>
                <a:gd name="T81" fmla="*/ 6067 h 7485"/>
                <a:gd name="T82" fmla="*/ 2118 w 2187"/>
                <a:gd name="T83" fmla="*/ 5360 h 7485"/>
                <a:gd name="T84" fmla="*/ 2048 w 2187"/>
                <a:gd name="T85" fmla="*/ 4985 h 7485"/>
                <a:gd name="T86" fmla="*/ 1935 w 2187"/>
                <a:gd name="T87" fmla="*/ 4355 h 7485"/>
                <a:gd name="T88" fmla="*/ 1950 w 2187"/>
                <a:gd name="T89" fmla="*/ 4007 h 7485"/>
                <a:gd name="T90" fmla="*/ 1958 w 2187"/>
                <a:gd name="T91" fmla="*/ 3900 h 7485"/>
                <a:gd name="T92" fmla="*/ 1906 w 2187"/>
                <a:gd name="T93" fmla="*/ 3346 h 7485"/>
                <a:gd name="T94" fmla="*/ 1871 w 2187"/>
                <a:gd name="T95" fmla="*/ 3039 h 7485"/>
                <a:gd name="T96" fmla="*/ 2126 w 2187"/>
                <a:gd name="T97" fmla="*/ 2665 h 7485"/>
                <a:gd name="T98" fmla="*/ 2159 w 2187"/>
                <a:gd name="T99" fmla="*/ 2473 h 7485"/>
                <a:gd name="T100" fmla="*/ 2148 w 2187"/>
                <a:gd name="T101" fmla="*/ 2222 h 7485"/>
                <a:gd name="T102" fmla="*/ 2017 w 2187"/>
                <a:gd name="T103" fmla="*/ 1288 h 7485"/>
                <a:gd name="T104" fmla="*/ 1905 w 2187"/>
                <a:gd name="T105" fmla="*/ 1185 h 7485"/>
                <a:gd name="T106" fmla="*/ 1450 w 2187"/>
                <a:gd name="T107" fmla="*/ 1033 h 7485"/>
                <a:gd name="T108" fmla="*/ 1325 w 2187"/>
                <a:gd name="T109" fmla="*/ 890 h 7485"/>
                <a:gd name="T110" fmla="*/ 1269 w 2187"/>
                <a:gd name="T111" fmla="*/ 776 h 7485"/>
                <a:gd name="T112" fmla="*/ 1295 w 2187"/>
                <a:gd name="T113" fmla="*/ 667 h 7485"/>
                <a:gd name="T114" fmla="*/ 1340 w 2187"/>
                <a:gd name="T115" fmla="*/ 404 h 7485"/>
                <a:gd name="T116" fmla="*/ 1237 w 2187"/>
                <a:gd name="T117" fmla="*/ 105 h 7485"/>
                <a:gd name="T118" fmla="*/ 1047 w 2187"/>
                <a:gd name="T119" fmla="*/ 0 h 7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87" h="7485">
                  <a:moveTo>
                    <a:pt x="1047" y="0"/>
                  </a:moveTo>
                  <a:lnTo>
                    <a:pt x="936" y="3"/>
                  </a:lnTo>
                  <a:cubicBezTo>
                    <a:pt x="812" y="5"/>
                    <a:pt x="781" y="11"/>
                    <a:pt x="733" y="40"/>
                  </a:cubicBezTo>
                  <a:cubicBezTo>
                    <a:pt x="667" y="79"/>
                    <a:pt x="609" y="147"/>
                    <a:pt x="590" y="205"/>
                  </a:cubicBezTo>
                  <a:cubicBezTo>
                    <a:pt x="577" y="248"/>
                    <a:pt x="576" y="316"/>
                    <a:pt x="588" y="392"/>
                  </a:cubicBezTo>
                  <a:cubicBezTo>
                    <a:pt x="592" y="421"/>
                    <a:pt x="604" y="501"/>
                    <a:pt x="612" y="571"/>
                  </a:cubicBezTo>
                  <a:cubicBezTo>
                    <a:pt x="627" y="683"/>
                    <a:pt x="642" y="761"/>
                    <a:pt x="654" y="776"/>
                  </a:cubicBezTo>
                  <a:cubicBezTo>
                    <a:pt x="656" y="779"/>
                    <a:pt x="659" y="787"/>
                    <a:pt x="661" y="795"/>
                  </a:cubicBezTo>
                  <a:cubicBezTo>
                    <a:pt x="667" y="822"/>
                    <a:pt x="695" y="876"/>
                    <a:pt x="718" y="907"/>
                  </a:cubicBezTo>
                  <a:cubicBezTo>
                    <a:pt x="745" y="943"/>
                    <a:pt x="754" y="965"/>
                    <a:pt x="754" y="996"/>
                  </a:cubicBezTo>
                  <a:cubicBezTo>
                    <a:pt x="754" y="1041"/>
                    <a:pt x="744" y="1062"/>
                    <a:pt x="703" y="1113"/>
                  </a:cubicBezTo>
                  <a:cubicBezTo>
                    <a:pt x="641" y="1190"/>
                    <a:pt x="603" y="1221"/>
                    <a:pt x="488" y="1290"/>
                  </a:cubicBezTo>
                  <a:cubicBezTo>
                    <a:pt x="363" y="1365"/>
                    <a:pt x="327" y="1388"/>
                    <a:pt x="299" y="1415"/>
                  </a:cubicBezTo>
                  <a:cubicBezTo>
                    <a:pt x="258" y="1452"/>
                    <a:pt x="249" y="1488"/>
                    <a:pt x="208" y="1784"/>
                  </a:cubicBezTo>
                  <a:cubicBezTo>
                    <a:pt x="167" y="2072"/>
                    <a:pt x="157" y="2312"/>
                    <a:pt x="165" y="2782"/>
                  </a:cubicBezTo>
                  <a:lnTo>
                    <a:pt x="169" y="3102"/>
                  </a:lnTo>
                  <a:lnTo>
                    <a:pt x="183" y="3144"/>
                  </a:lnTo>
                  <a:cubicBezTo>
                    <a:pt x="207" y="3219"/>
                    <a:pt x="268" y="3307"/>
                    <a:pt x="324" y="3348"/>
                  </a:cubicBezTo>
                  <a:cubicBezTo>
                    <a:pt x="357" y="3372"/>
                    <a:pt x="360" y="3375"/>
                    <a:pt x="356" y="3387"/>
                  </a:cubicBezTo>
                  <a:cubicBezTo>
                    <a:pt x="349" y="3413"/>
                    <a:pt x="353" y="3629"/>
                    <a:pt x="365" y="3806"/>
                  </a:cubicBezTo>
                  <a:lnTo>
                    <a:pt x="376" y="3979"/>
                  </a:lnTo>
                  <a:lnTo>
                    <a:pt x="407" y="4126"/>
                  </a:lnTo>
                  <a:cubicBezTo>
                    <a:pt x="443" y="4293"/>
                    <a:pt x="491" y="4573"/>
                    <a:pt x="522" y="4798"/>
                  </a:cubicBezTo>
                  <a:cubicBezTo>
                    <a:pt x="534" y="4882"/>
                    <a:pt x="555" y="5028"/>
                    <a:pt x="568" y="5124"/>
                  </a:cubicBezTo>
                  <a:cubicBezTo>
                    <a:pt x="581" y="5219"/>
                    <a:pt x="595" y="5321"/>
                    <a:pt x="599" y="5350"/>
                  </a:cubicBezTo>
                  <a:cubicBezTo>
                    <a:pt x="611" y="5431"/>
                    <a:pt x="624" y="5645"/>
                    <a:pt x="620" y="5686"/>
                  </a:cubicBezTo>
                  <a:cubicBezTo>
                    <a:pt x="615" y="5734"/>
                    <a:pt x="583" y="6000"/>
                    <a:pt x="572" y="6075"/>
                  </a:cubicBezTo>
                  <a:cubicBezTo>
                    <a:pt x="565" y="6125"/>
                    <a:pt x="548" y="6202"/>
                    <a:pt x="497" y="6421"/>
                  </a:cubicBezTo>
                  <a:cubicBezTo>
                    <a:pt x="491" y="6446"/>
                    <a:pt x="486" y="6471"/>
                    <a:pt x="487" y="6476"/>
                  </a:cubicBezTo>
                  <a:cubicBezTo>
                    <a:pt x="488" y="6481"/>
                    <a:pt x="480" y="6495"/>
                    <a:pt x="469" y="6508"/>
                  </a:cubicBezTo>
                  <a:cubicBezTo>
                    <a:pt x="459" y="6521"/>
                    <a:pt x="435" y="6554"/>
                    <a:pt x="416" y="6582"/>
                  </a:cubicBezTo>
                  <a:cubicBezTo>
                    <a:pt x="397" y="6610"/>
                    <a:pt x="375" y="6638"/>
                    <a:pt x="368" y="6644"/>
                  </a:cubicBezTo>
                  <a:cubicBezTo>
                    <a:pt x="360" y="6649"/>
                    <a:pt x="332" y="6663"/>
                    <a:pt x="303" y="6676"/>
                  </a:cubicBezTo>
                  <a:cubicBezTo>
                    <a:pt x="196" y="6723"/>
                    <a:pt x="41" y="6802"/>
                    <a:pt x="21" y="6819"/>
                  </a:cubicBezTo>
                  <a:cubicBezTo>
                    <a:pt x="1" y="6837"/>
                    <a:pt x="0" y="6838"/>
                    <a:pt x="1" y="6868"/>
                  </a:cubicBezTo>
                  <a:cubicBezTo>
                    <a:pt x="3" y="6910"/>
                    <a:pt x="21" y="6940"/>
                    <a:pt x="51" y="6950"/>
                  </a:cubicBezTo>
                  <a:cubicBezTo>
                    <a:pt x="118" y="6974"/>
                    <a:pt x="147" y="6976"/>
                    <a:pt x="268" y="6962"/>
                  </a:cubicBezTo>
                  <a:cubicBezTo>
                    <a:pt x="439" y="6942"/>
                    <a:pt x="448" y="6939"/>
                    <a:pt x="530" y="6877"/>
                  </a:cubicBezTo>
                  <a:cubicBezTo>
                    <a:pt x="556" y="6858"/>
                    <a:pt x="591" y="6837"/>
                    <a:pt x="606" y="6829"/>
                  </a:cubicBezTo>
                  <a:cubicBezTo>
                    <a:pt x="632" y="6817"/>
                    <a:pt x="636" y="6817"/>
                    <a:pt x="656" y="6823"/>
                  </a:cubicBezTo>
                  <a:cubicBezTo>
                    <a:pt x="671" y="6828"/>
                    <a:pt x="705" y="6831"/>
                    <a:pt x="767" y="6831"/>
                  </a:cubicBezTo>
                  <a:cubicBezTo>
                    <a:pt x="853" y="6831"/>
                    <a:pt x="857" y="6830"/>
                    <a:pt x="885" y="6816"/>
                  </a:cubicBezTo>
                  <a:cubicBezTo>
                    <a:pt x="901" y="6809"/>
                    <a:pt x="927" y="6797"/>
                    <a:pt x="943" y="6791"/>
                  </a:cubicBezTo>
                  <a:cubicBezTo>
                    <a:pt x="980" y="6777"/>
                    <a:pt x="990" y="6768"/>
                    <a:pt x="990" y="6747"/>
                  </a:cubicBezTo>
                  <a:cubicBezTo>
                    <a:pt x="990" y="6739"/>
                    <a:pt x="998" y="6693"/>
                    <a:pt x="1008" y="6647"/>
                  </a:cubicBezTo>
                  <a:cubicBezTo>
                    <a:pt x="1026" y="6562"/>
                    <a:pt x="1028" y="6558"/>
                    <a:pt x="1055" y="6542"/>
                  </a:cubicBezTo>
                  <a:cubicBezTo>
                    <a:pt x="1060" y="6539"/>
                    <a:pt x="1066" y="6528"/>
                    <a:pt x="1068" y="6516"/>
                  </a:cubicBezTo>
                  <a:cubicBezTo>
                    <a:pt x="1071" y="6505"/>
                    <a:pt x="1076" y="6401"/>
                    <a:pt x="1079" y="6285"/>
                  </a:cubicBezTo>
                  <a:cubicBezTo>
                    <a:pt x="1085" y="6087"/>
                    <a:pt x="1090" y="5895"/>
                    <a:pt x="1100" y="5576"/>
                  </a:cubicBezTo>
                  <a:cubicBezTo>
                    <a:pt x="1103" y="5501"/>
                    <a:pt x="1111" y="5375"/>
                    <a:pt x="1118" y="5297"/>
                  </a:cubicBezTo>
                  <a:cubicBezTo>
                    <a:pt x="1126" y="5219"/>
                    <a:pt x="1135" y="5128"/>
                    <a:pt x="1137" y="5095"/>
                  </a:cubicBezTo>
                  <a:cubicBezTo>
                    <a:pt x="1140" y="5062"/>
                    <a:pt x="1145" y="5012"/>
                    <a:pt x="1148" y="4985"/>
                  </a:cubicBezTo>
                  <a:cubicBezTo>
                    <a:pt x="1150" y="4958"/>
                    <a:pt x="1154" y="4888"/>
                    <a:pt x="1156" y="4831"/>
                  </a:cubicBezTo>
                  <a:cubicBezTo>
                    <a:pt x="1158" y="4773"/>
                    <a:pt x="1161" y="4728"/>
                    <a:pt x="1163" y="4731"/>
                  </a:cubicBezTo>
                  <a:cubicBezTo>
                    <a:pt x="1169" y="4738"/>
                    <a:pt x="1278" y="5060"/>
                    <a:pt x="1349" y="5279"/>
                  </a:cubicBezTo>
                  <a:cubicBezTo>
                    <a:pt x="1414" y="5478"/>
                    <a:pt x="1420" y="5503"/>
                    <a:pt x="1431" y="5607"/>
                  </a:cubicBezTo>
                  <a:cubicBezTo>
                    <a:pt x="1435" y="5636"/>
                    <a:pt x="1447" y="5715"/>
                    <a:pt x="1458" y="5783"/>
                  </a:cubicBezTo>
                  <a:cubicBezTo>
                    <a:pt x="1469" y="5851"/>
                    <a:pt x="1482" y="5953"/>
                    <a:pt x="1487" y="6011"/>
                  </a:cubicBezTo>
                  <a:cubicBezTo>
                    <a:pt x="1507" y="6269"/>
                    <a:pt x="1516" y="6384"/>
                    <a:pt x="1519" y="6389"/>
                  </a:cubicBezTo>
                  <a:cubicBezTo>
                    <a:pt x="1520" y="6391"/>
                    <a:pt x="1524" y="6449"/>
                    <a:pt x="1528" y="6517"/>
                  </a:cubicBezTo>
                  <a:cubicBezTo>
                    <a:pt x="1536" y="6648"/>
                    <a:pt x="1555" y="6844"/>
                    <a:pt x="1561" y="6850"/>
                  </a:cubicBezTo>
                  <a:cubicBezTo>
                    <a:pt x="1563" y="6852"/>
                    <a:pt x="1583" y="6854"/>
                    <a:pt x="1604" y="6855"/>
                  </a:cubicBezTo>
                  <a:cubicBezTo>
                    <a:pt x="1626" y="6855"/>
                    <a:pt x="1646" y="6858"/>
                    <a:pt x="1650" y="6861"/>
                  </a:cubicBezTo>
                  <a:cubicBezTo>
                    <a:pt x="1655" y="6865"/>
                    <a:pt x="1657" y="6884"/>
                    <a:pt x="1657" y="6925"/>
                  </a:cubicBezTo>
                  <a:cubicBezTo>
                    <a:pt x="1657" y="6975"/>
                    <a:pt x="1655" y="6987"/>
                    <a:pt x="1644" y="7010"/>
                  </a:cubicBezTo>
                  <a:cubicBezTo>
                    <a:pt x="1619" y="7064"/>
                    <a:pt x="1569" y="7126"/>
                    <a:pt x="1470" y="7227"/>
                  </a:cubicBezTo>
                  <a:cubicBezTo>
                    <a:pt x="1373" y="7326"/>
                    <a:pt x="1369" y="7330"/>
                    <a:pt x="1363" y="7359"/>
                  </a:cubicBezTo>
                  <a:cubicBezTo>
                    <a:pt x="1357" y="7385"/>
                    <a:pt x="1357" y="7390"/>
                    <a:pt x="1367" y="7412"/>
                  </a:cubicBezTo>
                  <a:cubicBezTo>
                    <a:pt x="1373" y="7425"/>
                    <a:pt x="1383" y="7440"/>
                    <a:pt x="1390" y="7444"/>
                  </a:cubicBezTo>
                  <a:cubicBezTo>
                    <a:pt x="1400" y="7451"/>
                    <a:pt x="1510" y="7474"/>
                    <a:pt x="1567" y="7481"/>
                  </a:cubicBezTo>
                  <a:cubicBezTo>
                    <a:pt x="1602" y="7485"/>
                    <a:pt x="1666" y="7479"/>
                    <a:pt x="1715" y="7466"/>
                  </a:cubicBezTo>
                  <a:cubicBezTo>
                    <a:pt x="1791" y="7446"/>
                    <a:pt x="1862" y="7422"/>
                    <a:pt x="1885" y="7409"/>
                  </a:cubicBezTo>
                  <a:cubicBezTo>
                    <a:pt x="1914" y="7392"/>
                    <a:pt x="1956" y="7350"/>
                    <a:pt x="1996" y="7299"/>
                  </a:cubicBezTo>
                  <a:cubicBezTo>
                    <a:pt x="2027" y="7260"/>
                    <a:pt x="2031" y="7256"/>
                    <a:pt x="2051" y="7255"/>
                  </a:cubicBezTo>
                  <a:cubicBezTo>
                    <a:pt x="2062" y="7255"/>
                    <a:pt x="2077" y="7250"/>
                    <a:pt x="2084" y="7246"/>
                  </a:cubicBezTo>
                  <a:cubicBezTo>
                    <a:pt x="2090" y="7241"/>
                    <a:pt x="2108" y="7229"/>
                    <a:pt x="2123" y="7219"/>
                  </a:cubicBezTo>
                  <a:cubicBezTo>
                    <a:pt x="2158" y="7196"/>
                    <a:pt x="2181" y="7165"/>
                    <a:pt x="2185" y="7134"/>
                  </a:cubicBezTo>
                  <a:cubicBezTo>
                    <a:pt x="2187" y="7120"/>
                    <a:pt x="2186" y="7075"/>
                    <a:pt x="2183" y="7033"/>
                  </a:cubicBezTo>
                  <a:cubicBezTo>
                    <a:pt x="2178" y="6974"/>
                    <a:pt x="2173" y="6946"/>
                    <a:pt x="2161" y="6907"/>
                  </a:cubicBezTo>
                  <a:lnTo>
                    <a:pt x="2144" y="6857"/>
                  </a:lnTo>
                  <a:lnTo>
                    <a:pt x="2145" y="6581"/>
                  </a:lnTo>
                  <a:cubicBezTo>
                    <a:pt x="2145" y="6430"/>
                    <a:pt x="2148" y="6198"/>
                    <a:pt x="2151" y="6067"/>
                  </a:cubicBezTo>
                  <a:cubicBezTo>
                    <a:pt x="2153" y="5935"/>
                    <a:pt x="2156" y="5754"/>
                    <a:pt x="2156" y="5663"/>
                  </a:cubicBezTo>
                  <a:cubicBezTo>
                    <a:pt x="2156" y="5483"/>
                    <a:pt x="2156" y="5489"/>
                    <a:pt x="2118" y="5360"/>
                  </a:cubicBezTo>
                  <a:cubicBezTo>
                    <a:pt x="2110" y="5331"/>
                    <a:pt x="2094" y="5257"/>
                    <a:pt x="2084" y="5195"/>
                  </a:cubicBezTo>
                  <a:cubicBezTo>
                    <a:pt x="2074" y="5133"/>
                    <a:pt x="2058" y="5038"/>
                    <a:pt x="2048" y="4985"/>
                  </a:cubicBezTo>
                  <a:cubicBezTo>
                    <a:pt x="2033" y="4902"/>
                    <a:pt x="1978" y="4581"/>
                    <a:pt x="1953" y="4431"/>
                  </a:cubicBezTo>
                  <a:cubicBezTo>
                    <a:pt x="1949" y="4405"/>
                    <a:pt x="1941" y="4371"/>
                    <a:pt x="1935" y="4355"/>
                  </a:cubicBezTo>
                  <a:cubicBezTo>
                    <a:pt x="1911" y="4282"/>
                    <a:pt x="1904" y="4194"/>
                    <a:pt x="1915" y="4102"/>
                  </a:cubicBezTo>
                  <a:cubicBezTo>
                    <a:pt x="1924" y="4025"/>
                    <a:pt x="1927" y="4016"/>
                    <a:pt x="1950" y="4007"/>
                  </a:cubicBezTo>
                  <a:lnTo>
                    <a:pt x="1970" y="3999"/>
                  </a:lnTo>
                  <a:lnTo>
                    <a:pt x="1958" y="3900"/>
                  </a:lnTo>
                  <a:cubicBezTo>
                    <a:pt x="1951" y="3845"/>
                    <a:pt x="1943" y="3744"/>
                    <a:pt x="1941" y="3674"/>
                  </a:cubicBezTo>
                  <a:cubicBezTo>
                    <a:pt x="1936" y="3565"/>
                    <a:pt x="1932" y="3523"/>
                    <a:pt x="1906" y="3346"/>
                  </a:cubicBezTo>
                  <a:cubicBezTo>
                    <a:pt x="1890" y="3235"/>
                    <a:pt x="1876" y="3120"/>
                    <a:pt x="1874" y="3091"/>
                  </a:cubicBezTo>
                  <a:lnTo>
                    <a:pt x="1871" y="3039"/>
                  </a:lnTo>
                  <a:lnTo>
                    <a:pt x="1888" y="3018"/>
                  </a:lnTo>
                  <a:cubicBezTo>
                    <a:pt x="1925" y="2973"/>
                    <a:pt x="2106" y="2703"/>
                    <a:pt x="2126" y="2665"/>
                  </a:cubicBezTo>
                  <a:cubicBezTo>
                    <a:pt x="2131" y="2656"/>
                    <a:pt x="2139" y="2611"/>
                    <a:pt x="2145" y="2566"/>
                  </a:cubicBezTo>
                  <a:cubicBezTo>
                    <a:pt x="2151" y="2520"/>
                    <a:pt x="2157" y="2478"/>
                    <a:pt x="2159" y="2473"/>
                  </a:cubicBezTo>
                  <a:cubicBezTo>
                    <a:pt x="2164" y="2458"/>
                    <a:pt x="2162" y="2372"/>
                    <a:pt x="2156" y="2332"/>
                  </a:cubicBezTo>
                  <a:cubicBezTo>
                    <a:pt x="2153" y="2311"/>
                    <a:pt x="2150" y="2261"/>
                    <a:pt x="2148" y="2222"/>
                  </a:cubicBezTo>
                  <a:cubicBezTo>
                    <a:pt x="2147" y="2160"/>
                    <a:pt x="2123" y="1935"/>
                    <a:pt x="2092" y="1684"/>
                  </a:cubicBezTo>
                  <a:cubicBezTo>
                    <a:pt x="2080" y="1586"/>
                    <a:pt x="2029" y="1314"/>
                    <a:pt x="2017" y="1288"/>
                  </a:cubicBezTo>
                  <a:cubicBezTo>
                    <a:pt x="2012" y="1278"/>
                    <a:pt x="1999" y="1257"/>
                    <a:pt x="1987" y="1242"/>
                  </a:cubicBezTo>
                  <a:cubicBezTo>
                    <a:pt x="1969" y="1219"/>
                    <a:pt x="1958" y="1211"/>
                    <a:pt x="1905" y="1185"/>
                  </a:cubicBezTo>
                  <a:cubicBezTo>
                    <a:pt x="1840" y="1154"/>
                    <a:pt x="1812" y="1144"/>
                    <a:pt x="1590" y="1076"/>
                  </a:cubicBezTo>
                  <a:lnTo>
                    <a:pt x="1450" y="1033"/>
                  </a:lnTo>
                  <a:lnTo>
                    <a:pt x="1416" y="991"/>
                  </a:lnTo>
                  <a:cubicBezTo>
                    <a:pt x="1397" y="968"/>
                    <a:pt x="1356" y="923"/>
                    <a:pt x="1325" y="890"/>
                  </a:cubicBezTo>
                  <a:lnTo>
                    <a:pt x="1269" y="831"/>
                  </a:lnTo>
                  <a:lnTo>
                    <a:pt x="1269" y="776"/>
                  </a:lnTo>
                  <a:lnTo>
                    <a:pt x="1269" y="722"/>
                  </a:lnTo>
                  <a:lnTo>
                    <a:pt x="1295" y="667"/>
                  </a:lnTo>
                  <a:cubicBezTo>
                    <a:pt x="1332" y="591"/>
                    <a:pt x="1343" y="547"/>
                    <a:pt x="1346" y="473"/>
                  </a:cubicBezTo>
                  <a:cubicBezTo>
                    <a:pt x="1348" y="423"/>
                    <a:pt x="1346" y="411"/>
                    <a:pt x="1340" y="404"/>
                  </a:cubicBezTo>
                  <a:cubicBezTo>
                    <a:pt x="1334" y="398"/>
                    <a:pt x="1330" y="376"/>
                    <a:pt x="1327" y="321"/>
                  </a:cubicBezTo>
                  <a:cubicBezTo>
                    <a:pt x="1320" y="212"/>
                    <a:pt x="1306" y="178"/>
                    <a:pt x="1237" y="105"/>
                  </a:cubicBezTo>
                  <a:cubicBezTo>
                    <a:pt x="1206" y="71"/>
                    <a:pt x="1195" y="65"/>
                    <a:pt x="1091" y="19"/>
                  </a:cubicBezTo>
                  <a:lnTo>
                    <a:pt x="1047" y="0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reeform 194">
              <a:extLst>
                <a:ext uri="{FF2B5EF4-FFF2-40B4-BE49-F238E27FC236}">
                  <a16:creationId xmlns:a16="http://schemas.microsoft.com/office/drawing/2014/main" id="{90AFAEB0-30F3-48D3-88FE-F7E3AFA20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8" y="2184"/>
              <a:ext cx="656" cy="1995"/>
            </a:xfrm>
            <a:custGeom>
              <a:avLst/>
              <a:gdLst>
                <a:gd name="T0" fmla="*/ 703 w 2402"/>
                <a:gd name="T1" fmla="*/ 85 h 7289"/>
                <a:gd name="T2" fmla="*/ 546 w 2402"/>
                <a:gd name="T3" fmla="*/ 490 h 7289"/>
                <a:gd name="T4" fmla="*/ 683 w 2402"/>
                <a:gd name="T5" fmla="*/ 922 h 7289"/>
                <a:gd name="T6" fmla="*/ 719 w 2402"/>
                <a:gd name="T7" fmla="*/ 1065 h 7289"/>
                <a:gd name="T8" fmla="*/ 338 w 2402"/>
                <a:gd name="T9" fmla="*/ 1331 h 7289"/>
                <a:gd name="T10" fmla="*/ 86 w 2402"/>
                <a:gd name="T11" fmla="*/ 1954 h 7289"/>
                <a:gd name="T12" fmla="*/ 1 w 2402"/>
                <a:gd name="T13" fmla="*/ 3464 h 7289"/>
                <a:gd name="T14" fmla="*/ 83 w 2402"/>
                <a:gd name="T15" fmla="*/ 4286 h 7289"/>
                <a:gd name="T16" fmla="*/ 329 w 2402"/>
                <a:gd name="T17" fmla="*/ 4286 h 7289"/>
                <a:gd name="T18" fmla="*/ 432 w 2402"/>
                <a:gd name="T19" fmla="*/ 4226 h 7289"/>
                <a:gd name="T20" fmla="*/ 538 w 2402"/>
                <a:gd name="T21" fmla="*/ 4513 h 7289"/>
                <a:gd name="T22" fmla="*/ 676 w 2402"/>
                <a:gd name="T23" fmla="*/ 5146 h 7289"/>
                <a:gd name="T24" fmla="*/ 737 w 2402"/>
                <a:gd name="T25" fmla="*/ 5602 h 7289"/>
                <a:gd name="T26" fmla="*/ 766 w 2402"/>
                <a:gd name="T27" fmla="*/ 5849 h 7289"/>
                <a:gd name="T28" fmla="*/ 822 w 2402"/>
                <a:gd name="T29" fmla="*/ 6202 h 7289"/>
                <a:gd name="T30" fmla="*/ 894 w 2402"/>
                <a:gd name="T31" fmla="*/ 6476 h 7289"/>
                <a:gd name="T32" fmla="*/ 929 w 2402"/>
                <a:gd name="T33" fmla="*/ 6846 h 7289"/>
                <a:gd name="T34" fmla="*/ 810 w 2402"/>
                <a:gd name="T35" fmla="*/ 7070 h 7289"/>
                <a:gd name="T36" fmla="*/ 751 w 2402"/>
                <a:gd name="T37" fmla="*/ 7271 h 7289"/>
                <a:gd name="T38" fmla="*/ 1186 w 2402"/>
                <a:gd name="T39" fmla="*/ 7278 h 7289"/>
                <a:gd name="T40" fmla="*/ 1301 w 2402"/>
                <a:gd name="T41" fmla="*/ 7228 h 7289"/>
                <a:gd name="T42" fmla="*/ 1402 w 2402"/>
                <a:gd name="T43" fmla="*/ 7076 h 7289"/>
                <a:gd name="T44" fmla="*/ 1446 w 2402"/>
                <a:gd name="T45" fmla="*/ 6924 h 7289"/>
                <a:gd name="T46" fmla="*/ 1434 w 2402"/>
                <a:gd name="T47" fmla="*/ 6569 h 7289"/>
                <a:gd name="T48" fmla="*/ 1459 w 2402"/>
                <a:gd name="T49" fmla="*/ 6346 h 7289"/>
                <a:gd name="T50" fmla="*/ 1418 w 2402"/>
                <a:gd name="T51" fmla="*/ 6107 h 7289"/>
                <a:gd name="T52" fmla="*/ 1338 w 2402"/>
                <a:gd name="T53" fmla="*/ 5488 h 7289"/>
                <a:gd name="T54" fmla="*/ 1249 w 2402"/>
                <a:gd name="T55" fmla="*/ 4608 h 7289"/>
                <a:gd name="T56" fmla="*/ 1343 w 2402"/>
                <a:gd name="T57" fmla="*/ 4613 h 7289"/>
                <a:gd name="T58" fmla="*/ 1478 w 2402"/>
                <a:gd name="T59" fmla="*/ 5431 h 7289"/>
                <a:gd name="T60" fmla="*/ 1553 w 2402"/>
                <a:gd name="T61" fmla="*/ 5815 h 7289"/>
                <a:gd name="T62" fmla="*/ 1609 w 2402"/>
                <a:gd name="T63" fmla="*/ 6143 h 7289"/>
                <a:gd name="T64" fmla="*/ 1629 w 2402"/>
                <a:gd name="T65" fmla="*/ 6398 h 7289"/>
                <a:gd name="T66" fmla="*/ 1706 w 2402"/>
                <a:gd name="T67" fmla="*/ 6596 h 7289"/>
                <a:gd name="T68" fmla="*/ 1715 w 2402"/>
                <a:gd name="T69" fmla="*/ 6883 h 7289"/>
                <a:gd name="T70" fmla="*/ 1773 w 2402"/>
                <a:gd name="T71" fmla="*/ 7046 h 7289"/>
                <a:gd name="T72" fmla="*/ 1809 w 2402"/>
                <a:gd name="T73" fmla="*/ 7254 h 7289"/>
                <a:gd name="T74" fmla="*/ 2032 w 2402"/>
                <a:gd name="T75" fmla="*/ 7289 h 7289"/>
                <a:gd name="T76" fmla="*/ 2395 w 2402"/>
                <a:gd name="T77" fmla="*/ 7225 h 7289"/>
                <a:gd name="T78" fmla="*/ 2225 w 2402"/>
                <a:gd name="T79" fmla="*/ 6914 h 7289"/>
                <a:gd name="T80" fmla="*/ 2261 w 2402"/>
                <a:gd name="T81" fmla="*/ 6745 h 7289"/>
                <a:gd name="T82" fmla="*/ 2202 w 2402"/>
                <a:gd name="T83" fmla="*/ 5667 h 7289"/>
                <a:gd name="T84" fmla="*/ 1996 w 2402"/>
                <a:gd name="T85" fmla="*/ 4213 h 7289"/>
                <a:gd name="T86" fmla="*/ 2113 w 2402"/>
                <a:gd name="T87" fmla="*/ 4056 h 7289"/>
                <a:gd name="T88" fmla="*/ 2235 w 2402"/>
                <a:gd name="T89" fmla="*/ 3925 h 7289"/>
                <a:gd name="T90" fmla="*/ 2276 w 2402"/>
                <a:gd name="T91" fmla="*/ 3778 h 7289"/>
                <a:gd name="T92" fmla="*/ 2396 w 2402"/>
                <a:gd name="T93" fmla="*/ 2628 h 7289"/>
                <a:gd name="T94" fmla="*/ 2206 w 2402"/>
                <a:gd name="T95" fmla="*/ 1756 h 7289"/>
                <a:gd name="T96" fmla="*/ 1599 w 2402"/>
                <a:gd name="T97" fmla="*/ 1094 h 7289"/>
                <a:gd name="T98" fmla="*/ 1290 w 2402"/>
                <a:gd name="T99" fmla="*/ 821 h 7289"/>
                <a:gd name="T100" fmla="*/ 1379 w 2402"/>
                <a:gd name="T101" fmla="*/ 509 h 7289"/>
                <a:gd name="T102" fmla="*/ 1344 w 2402"/>
                <a:gd name="T103" fmla="*/ 290 h 7289"/>
                <a:gd name="T104" fmla="*/ 1194 w 2402"/>
                <a:gd name="T105" fmla="*/ 92 h 7289"/>
                <a:gd name="T106" fmla="*/ 924 w 2402"/>
                <a:gd name="T107" fmla="*/ 0 h 7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02" h="7289">
                  <a:moveTo>
                    <a:pt x="924" y="0"/>
                  </a:moveTo>
                  <a:cubicBezTo>
                    <a:pt x="906" y="0"/>
                    <a:pt x="890" y="3"/>
                    <a:pt x="865" y="7"/>
                  </a:cubicBezTo>
                  <a:cubicBezTo>
                    <a:pt x="791" y="18"/>
                    <a:pt x="763" y="32"/>
                    <a:pt x="703" y="85"/>
                  </a:cubicBezTo>
                  <a:cubicBezTo>
                    <a:pt x="653" y="130"/>
                    <a:pt x="636" y="152"/>
                    <a:pt x="629" y="177"/>
                  </a:cubicBezTo>
                  <a:cubicBezTo>
                    <a:pt x="627" y="185"/>
                    <a:pt x="615" y="204"/>
                    <a:pt x="602" y="219"/>
                  </a:cubicBezTo>
                  <a:cubicBezTo>
                    <a:pt x="549" y="284"/>
                    <a:pt x="539" y="334"/>
                    <a:pt x="546" y="490"/>
                  </a:cubicBezTo>
                  <a:cubicBezTo>
                    <a:pt x="551" y="610"/>
                    <a:pt x="561" y="660"/>
                    <a:pt x="597" y="738"/>
                  </a:cubicBezTo>
                  <a:cubicBezTo>
                    <a:pt x="621" y="791"/>
                    <a:pt x="626" y="806"/>
                    <a:pt x="630" y="834"/>
                  </a:cubicBezTo>
                  <a:cubicBezTo>
                    <a:pt x="634" y="866"/>
                    <a:pt x="650" y="891"/>
                    <a:pt x="683" y="922"/>
                  </a:cubicBezTo>
                  <a:lnTo>
                    <a:pt x="710" y="947"/>
                  </a:lnTo>
                  <a:lnTo>
                    <a:pt x="715" y="1007"/>
                  </a:lnTo>
                  <a:lnTo>
                    <a:pt x="719" y="1065"/>
                  </a:lnTo>
                  <a:lnTo>
                    <a:pt x="680" y="1104"/>
                  </a:lnTo>
                  <a:cubicBezTo>
                    <a:pt x="637" y="1145"/>
                    <a:pt x="604" y="1169"/>
                    <a:pt x="471" y="1249"/>
                  </a:cubicBezTo>
                  <a:cubicBezTo>
                    <a:pt x="423" y="1278"/>
                    <a:pt x="362" y="1315"/>
                    <a:pt x="338" y="1331"/>
                  </a:cubicBezTo>
                  <a:cubicBezTo>
                    <a:pt x="290" y="1363"/>
                    <a:pt x="174" y="1466"/>
                    <a:pt x="152" y="1497"/>
                  </a:cubicBezTo>
                  <a:cubicBezTo>
                    <a:pt x="122" y="1537"/>
                    <a:pt x="117" y="1569"/>
                    <a:pt x="97" y="1834"/>
                  </a:cubicBezTo>
                  <a:cubicBezTo>
                    <a:pt x="96" y="1857"/>
                    <a:pt x="90" y="1910"/>
                    <a:pt x="86" y="1954"/>
                  </a:cubicBezTo>
                  <a:cubicBezTo>
                    <a:pt x="81" y="1997"/>
                    <a:pt x="73" y="2091"/>
                    <a:pt x="68" y="2163"/>
                  </a:cubicBezTo>
                  <a:cubicBezTo>
                    <a:pt x="62" y="2235"/>
                    <a:pt x="52" y="2341"/>
                    <a:pt x="46" y="2399"/>
                  </a:cubicBezTo>
                  <a:cubicBezTo>
                    <a:pt x="1" y="2840"/>
                    <a:pt x="0" y="2869"/>
                    <a:pt x="1" y="3464"/>
                  </a:cubicBezTo>
                  <a:cubicBezTo>
                    <a:pt x="2" y="3981"/>
                    <a:pt x="2" y="3989"/>
                    <a:pt x="13" y="3998"/>
                  </a:cubicBezTo>
                  <a:cubicBezTo>
                    <a:pt x="23" y="4006"/>
                    <a:pt x="24" y="4013"/>
                    <a:pt x="24" y="4109"/>
                  </a:cubicBezTo>
                  <a:cubicBezTo>
                    <a:pt x="24" y="4227"/>
                    <a:pt x="22" y="4220"/>
                    <a:pt x="83" y="4286"/>
                  </a:cubicBezTo>
                  <a:cubicBezTo>
                    <a:pt x="119" y="4323"/>
                    <a:pt x="125" y="4328"/>
                    <a:pt x="157" y="4336"/>
                  </a:cubicBezTo>
                  <a:cubicBezTo>
                    <a:pt x="180" y="4343"/>
                    <a:pt x="204" y="4345"/>
                    <a:pt x="229" y="4344"/>
                  </a:cubicBezTo>
                  <a:cubicBezTo>
                    <a:pt x="269" y="4341"/>
                    <a:pt x="281" y="4334"/>
                    <a:pt x="329" y="4286"/>
                  </a:cubicBezTo>
                  <a:cubicBezTo>
                    <a:pt x="340" y="4275"/>
                    <a:pt x="350" y="4271"/>
                    <a:pt x="370" y="4270"/>
                  </a:cubicBezTo>
                  <a:cubicBezTo>
                    <a:pt x="391" y="4269"/>
                    <a:pt x="399" y="4266"/>
                    <a:pt x="409" y="4254"/>
                  </a:cubicBezTo>
                  <a:cubicBezTo>
                    <a:pt x="416" y="4245"/>
                    <a:pt x="426" y="4233"/>
                    <a:pt x="432" y="4226"/>
                  </a:cubicBezTo>
                  <a:cubicBezTo>
                    <a:pt x="437" y="4219"/>
                    <a:pt x="448" y="4214"/>
                    <a:pt x="456" y="4214"/>
                  </a:cubicBezTo>
                  <a:cubicBezTo>
                    <a:pt x="467" y="4214"/>
                    <a:pt x="470" y="4218"/>
                    <a:pt x="475" y="4235"/>
                  </a:cubicBezTo>
                  <a:cubicBezTo>
                    <a:pt x="487" y="4279"/>
                    <a:pt x="513" y="4396"/>
                    <a:pt x="538" y="4513"/>
                  </a:cubicBezTo>
                  <a:cubicBezTo>
                    <a:pt x="552" y="4580"/>
                    <a:pt x="568" y="4644"/>
                    <a:pt x="573" y="4654"/>
                  </a:cubicBezTo>
                  <a:cubicBezTo>
                    <a:pt x="585" y="4676"/>
                    <a:pt x="632" y="4870"/>
                    <a:pt x="652" y="4974"/>
                  </a:cubicBezTo>
                  <a:cubicBezTo>
                    <a:pt x="659" y="5015"/>
                    <a:pt x="671" y="5092"/>
                    <a:pt x="676" y="5146"/>
                  </a:cubicBezTo>
                  <a:cubicBezTo>
                    <a:pt x="682" y="5199"/>
                    <a:pt x="692" y="5278"/>
                    <a:pt x="698" y="5320"/>
                  </a:cubicBezTo>
                  <a:cubicBezTo>
                    <a:pt x="704" y="5361"/>
                    <a:pt x="715" y="5442"/>
                    <a:pt x="722" y="5498"/>
                  </a:cubicBezTo>
                  <a:lnTo>
                    <a:pt x="737" y="5602"/>
                  </a:lnTo>
                  <a:lnTo>
                    <a:pt x="761" y="5639"/>
                  </a:lnTo>
                  <a:cubicBezTo>
                    <a:pt x="788" y="5680"/>
                    <a:pt x="791" y="5702"/>
                    <a:pt x="775" y="5752"/>
                  </a:cubicBezTo>
                  <a:cubicBezTo>
                    <a:pt x="768" y="5774"/>
                    <a:pt x="766" y="5798"/>
                    <a:pt x="766" y="5849"/>
                  </a:cubicBezTo>
                  <a:cubicBezTo>
                    <a:pt x="767" y="5914"/>
                    <a:pt x="769" y="5922"/>
                    <a:pt x="795" y="6015"/>
                  </a:cubicBezTo>
                  <a:lnTo>
                    <a:pt x="824" y="6112"/>
                  </a:lnTo>
                  <a:lnTo>
                    <a:pt x="822" y="6202"/>
                  </a:lnTo>
                  <a:lnTo>
                    <a:pt x="821" y="6292"/>
                  </a:lnTo>
                  <a:lnTo>
                    <a:pt x="847" y="6366"/>
                  </a:lnTo>
                  <a:cubicBezTo>
                    <a:pt x="861" y="6406"/>
                    <a:pt x="882" y="6456"/>
                    <a:pt x="894" y="6476"/>
                  </a:cubicBezTo>
                  <a:lnTo>
                    <a:pt x="916" y="6513"/>
                  </a:lnTo>
                  <a:lnTo>
                    <a:pt x="908" y="6571"/>
                  </a:lnTo>
                  <a:cubicBezTo>
                    <a:pt x="885" y="6728"/>
                    <a:pt x="893" y="6838"/>
                    <a:pt x="929" y="6846"/>
                  </a:cubicBezTo>
                  <a:cubicBezTo>
                    <a:pt x="939" y="6849"/>
                    <a:pt x="941" y="6855"/>
                    <a:pt x="944" y="6888"/>
                  </a:cubicBezTo>
                  <a:cubicBezTo>
                    <a:pt x="946" y="6912"/>
                    <a:pt x="945" y="6931"/>
                    <a:pt x="941" y="6938"/>
                  </a:cubicBezTo>
                  <a:cubicBezTo>
                    <a:pt x="932" y="6955"/>
                    <a:pt x="857" y="7030"/>
                    <a:pt x="810" y="7070"/>
                  </a:cubicBezTo>
                  <a:cubicBezTo>
                    <a:pt x="759" y="7112"/>
                    <a:pt x="739" y="7148"/>
                    <a:pt x="734" y="7202"/>
                  </a:cubicBezTo>
                  <a:cubicBezTo>
                    <a:pt x="731" y="7232"/>
                    <a:pt x="732" y="7240"/>
                    <a:pt x="741" y="7254"/>
                  </a:cubicBezTo>
                  <a:lnTo>
                    <a:pt x="751" y="7271"/>
                  </a:lnTo>
                  <a:lnTo>
                    <a:pt x="826" y="7274"/>
                  </a:lnTo>
                  <a:cubicBezTo>
                    <a:pt x="867" y="7276"/>
                    <a:pt x="965" y="7278"/>
                    <a:pt x="1044" y="7278"/>
                  </a:cubicBezTo>
                  <a:lnTo>
                    <a:pt x="1186" y="7278"/>
                  </a:lnTo>
                  <a:lnTo>
                    <a:pt x="1205" y="7262"/>
                  </a:lnTo>
                  <a:cubicBezTo>
                    <a:pt x="1216" y="7253"/>
                    <a:pt x="1226" y="7241"/>
                    <a:pt x="1227" y="7235"/>
                  </a:cubicBezTo>
                  <a:cubicBezTo>
                    <a:pt x="1230" y="7227"/>
                    <a:pt x="1238" y="7227"/>
                    <a:pt x="1301" y="7228"/>
                  </a:cubicBezTo>
                  <a:lnTo>
                    <a:pt x="1372" y="7231"/>
                  </a:lnTo>
                  <a:lnTo>
                    <a:pt x="1383" y="7205"/>
                  </a:lnTo>
                  <a:cubicBezTo>
                    <a:pt x="1392" y="7186"/>
                    <a:pt x="1396" y="7156"/>
                    <a:pt x="1402" y="7076"/>
                  </a:cubicBezTo>
                  <a:lnTo>
                    <a:pt x="1411" y="6971"/>
                  </a:lnTo>
                  <a:lnTo>
                    <a:pt x="1430" y="6955"/>
                  </a:lnTo>
                  <a:cubicBezTo>
                    <a:pt x="1445" y="6941"/>
                    <a:pt x="1449" y="6935"/>
                    <a:pt x="1446" y="6924"/>
                  </a:cubicBezTo>
                  <a:cubicBezTo>
                    <a:pt x="1444" y="6917"/>
                    <a:pt x="1445" y="6854"/>
                    <a:pt x="1448" y="6783"/>
                  </a:cubicBezTo>
                  <a:cubicBezTo>
                    <a:pt x="1453" y="6670"/>
                    <a:pt x="1453" y="6650"/>
                    <a:pt x="1445" y="6617"/>
                  </a:cubicBezTo>
                  <a:cubicBezTo>
                    <a:pt x="1440" y="6597"/>
                    <a:pt x="1435" y="6575"/>
                    <a:pt x="1434" y="6569"/>
                  </a:cubicBezTo>
                  <a:cubicBezTo>
                    <a:pt x="1433" y="6564"/>
                    <a:pt x="1437" y="6549"/>
                    <a:pt x="1443" y="6537"/>
                  </a:cubicBezTo>
                  <a:cubicBezTo>
                    <a:pt x="1453" y="6518"/>
                    <a:pt x="1455" y="6503"/>
                    <a:pt x="1457" y="6431"/>
                  </a:cubicBezTo>
                  <a:lnTo>
                    <a:pt x="1459" y="6346"/>
                  </a:lnTo>
                  <a:lnTo>
                    <a:pt x="1437" y="6279"/>
                  </a:lnTo>
                  <a:lnTo>
                    <a:pt x="1416" y="6211"/>
                  </a:lnTo>
                  <a:lnTo>
                    <a:pt x="1418" y="6107"/>
                  </a:lnTo>
                  <a:cubicBezTo>
                    <a:pt x="1421" y="6008"/>
                    <a:pt x="1420" y="5999"/>
                    <a:pt x="1401" y="5875"/>
                  </a:cubicBezTo>
                  <a:cubicBezTo>
                    <a:pt x="1391" y="5804"/>
                    <a:pt x="1379" y="5709"/>
                    <a:pt x="1374" y="5665"/>
                  </a:cubicBezTo>
                  <a:cubicBezTo>
                    <a:pt x="1367" y="5606"/>
                    <a:pt x="1358" y="5560"/>
                    <a:pt x="1338" y="5488"/>
                  </a:cubicBezTo>
                  <a:cubicBezTo>
                    <a:pt x="1324" y="5434"/>
                    <a:pt x="1309" y="5380"/>
                    <a:pt x="1307" y="5368"/>
                  </a:cubicBezTo>
                  <a:cubicBezTo>
                    <a:pt x="1301" y="5346"/>
                    <a:pt x="1294" y="5239"/>
                    <a:pt x="1284" y="5039"/>
                  </a:cubicBezTo>
                  <a:cubicBezTo>
                    <a:pt x="1279" y="4933"/>
                    <a:pt x="1272" y="4856"/>
                    <a:pt x="1249" y="4608"/>
                  </a:cubicBezTo>
                  <a:cubicBezTo>
                    <a:pt x="1237" y="4473"/>
                    <a:pt x="1231" y="4247"/>
                    <a:pt x="1240" y="4240"/>
                  </a:cubicBezTo>
                  <a:cubicBezTo>
                    <a:pt x="1248" y="4233"/>
                    <a:pt x="1257" y="4243"/>
                    <a:pt x="1257" y="4257"/>
                  </a:cubicBezTo>
                  <a:cubicBezTo>
                    <a:pt x="1257" y="4269"/>
                    <a:pt x="1316" y="4511"/>
                    <a:pt x="1343" y="4613"/>
                  </a:cubicBezTo>
                  <a:cubicBezTo>
                    <a:pt x="1362" y="4685"/>
                    <a:pt x="1371" y="4737"/>
                    <a:pt x="1385" y="4847"/>
                  </a:cubicBezTo>
                  <a:cubicBezTo>
                    <a:pt x="1411" y="5052"/>
                    <a:pt x="1418" y="5094"/>
                    <a:pt x="1445" y="5227"/>
                  </a:cubicBezTo>
                  <a:cubicBezTo>
                    <a:pt x="1459" y="5293"/>
                    <a:pt x="1473" y="5384"/>
                    <a:pt x="1478" y="5431"/>
                  </a:cubicBezTo>
                  <a:cubicBezTo>
                    <a:pt x="1493" y="5593"/>
                    <a:pt x="1490" y="5578"/>
                    <a:pt x="1519" y="5627"/>
                  </a:cubicBezTo>
                  <a:cubicBezTo>
                    <a:pt x="1539" y="5662"/>
                    <a:pt x="1541" y="5666"/>
                    <a:pt x="1546" y="5730"/>
                  </a:cubicBezTo>
                  <a:cubicBezTo>
                    <a:pt x="1549" y="5767"/>
                    <a:pt x="1552" y="5806"/>
                    <a:pt x="1553" y="5815"/>
                  </a:cubicBezTo>
                  <a:cubicBezTo>
                    <a:pt x="1555" y="5825"/>
                    <a:pt x="1561" y="5879"/>
                    <a:pt x="1568" y="5935"/>
                  </a:cubicBezTo>
                  <a:cubicBezTo>
                    <a:pt x="1584" y="6083"/>
                    <a:pt x="1588" y="6118"/>
                    <a:pt x="1588" y="6119"/>
                  </a:cubicBezTo>
                  <a:cubicBezTo>
                    <a:pt x="1588" y="6120"/>
                    <a:pt x="1598" y="6131"/>
                    <a:pt x="1609" y="6143"/>
                  </a:cubicBezTo>
                  <a:cubicBezTo>
                    <a:pt x="1625" y="6161"/>
                    <a:pt x="1630" y="6172"/>
                    <a:pt x="1635" y="6204"/>
                  </a:cubicBezTo>
                  <a:cubicBezTo>
                    <a:pt x="1640" y="6229"/>
                    <a:pt x="1640" y="6253"/>
                    <a:pt x="1637" y="6275"/>
                  </a:cubicBezTo>
                  <a:cubicBezTo>
                    <a:pt x="1634" y="6293"/>
                    <a:pt x="1631" y="6349"/>
                    <a:pt x="1629" y="6398"/>
                  </a:cubicBezTo>
                  <a:lnTo>
                    <a:pt x="1626" y="6487"/>
                  </a:lnTo>
                  <a:lnTo>
                    <a:pt x="1667" y="6531"/>
                  </a:lnTo>
                  <a:cubicBezTo>
                    <a:pt x="1708" y="6573"/>
                    <a:pt x="1709" y="6575"/>
                    <a:pt x="1706" y="6596"/>
                  </a:cubicBezTo>
                  <a:cubicBezTo>
                    <a:pt x="1704" y="6608"/>
                    <a:pt x="1698" y="6629"/>
                    <a:pt x="1691" y="6642"/>
                  </a:cubicBezTo>
                  <a:cubicBezTo>
                    <a:pt x="1676" y="6675"/>
                    <a:pt x="1677" y="6700"/>
                    <a:pt x="1696" y="6762"/>
                  </a:cubicBezTo>
                  <a:cubicBezTo>
                    <a:pt x="1710" y="6804"/>
                    <a:pt x="1713" y="6826"/>
                    <a:pt x="1715" y="6883"/>
                  </a:cubicBezTo>
                  <a:cubicBezTo>
                    <a:pt x="1719" y="6964"/>
                    <a:pt x="1724" y="6979"/>
                    <a:pt x="1754" y="6979"/>
                  </a:cubicBezTo>
                  <a:lnTo>
                    <a:pt x="1773" y="6979"/>
                  </a:lnTo>
                  <a:lnTo>
                    <a:pt x="1773" y="7046"/>
                  </a:lnTo>
                  <a:cubicBezTo>
                    <a:pt x="1773" y="7084"/>
                    <a:pt x="1776" y="7115"/>
                    <a:pt x="1779" y="7118"/>
                  </a:cubicBezTo>
                  <a:cubicBezTo>
                    <a:pt x="1785" y="7124"/>
                    <a:pt x="1791" y="7160"/>
                    <a:pt x="1798" y="7219"/>
                  </a:cubicBezTo>
                  <a:cubicBezTo>
                    <a:pt x="1800" y="7235"/>
                    <a:pt x="1805" y="7251"/>
                    <a:pt x="1809" y="7254"/>
                  </a:cubicBezTo>
                  <a:cubicBezTo>
                    <a:pt x="1814" y="7258"/>
                    <a:pt x="1837" y="7259"/>
                    <a:pt x="1872" y="7258"/>
                  </a:cubicBezTo>
                  <a:cubicBezTo>
                    <a:pt x="1923" y="7256"/>
                    <a:pt x="1933" y="7257"/>
                    <a:pt x="1980" y="7272"/>
                  </a:cubicBezTo>
                  <a:lnTo>
                    <a:pt x="2032" y="7289"/>
                  </a:lnTo>
                  <a:lnTo>
                    <a:pt x="2143" y="7286"/>
                  </a:lnTo>
                  <a:cubicBezTo>
                    <a:pt x="2240" y="7284"/>
                    <a:pt x="2261" y="7282"/>
                    <a:pt x="2304" y="7270"/>
                  </a:cubicBezTo>
                  <a:cubicBezTo>
                    <a:pt x="2357" y="7256"/>
                    <a:pt x="2391" y="7239"/>
                    <a:pt x="2395" y="7225"/>
                  </a:cubicBezTo>
                  <a:cubicBezTo>
                    <a:pt x="2402" y="7202"/>
                    <a:pt x="2387" y="7150"/>
                    <a:pt x="2356" y="7094"/>
                  </a:cubicBezTo>
                  <a:cubicBezTo>
                    <a:pt x="2331" y="7047"/>
                    <a:pt x="2316" y="7027"/>
                    <a:pt x="2275" y="6986"/>
                  </a:cubicBezTo>
                  <a:cubicBezTo>
                    <a:pt x="2228" y="6939"/>
                    <a:pt x="2225" y="6934"/>
                    <a:pt x="2225" y="6914"/>
                  </a:cubicBezTo>
                  <a:cubicBezTo>
                    <a:pt x="2225" y="6894"/>
                    <a:pt x="2226" y="6892"/>
                    <a:pt x="2248" y="6883"/>
                  </a:cubicBezTo>
                  <a:lnTo>
                    <a:pt x="2271" y="6872"/>
                  </a:lnTo>
                  <a:lnTo>
                    <a:pt x="2261" y="6745"/>
                  </a:lnTo>
                  <a:cubicBezTo>
                    <a:pt x="2256" y="6674"/>
                    <a:pt x="2248" y="6588"/>
                    <a:pt x="2243" y="6552"/>
                  </a:cubicBezTo>
                  <a:cubicBezTo>
                    <a:pt x="2235" y="6498"/>
                    <a:pt x="2233" y="6442"/>
                    <a:pt x="2232" y="6194"/>
                  </a:cubicBezTo>
                  <a:cubicBezTo>
                    <a:pt x="2231" y="5878"/>
                    <a:pt x="2224" y="5750"/>
                    <a:pt x="2202" y="5667"/>
                  </a:cubicBezTo>
                  <a:cubicBezTo>
                    <a:pt x="2175" y="5562"/>
                    <a:pt x="2140" y="5458"/>
                    <a:pt x="2121" y="5422"/>
                  </a:cubicBezTo>
                  <a:cubicBezTo>
                    <a:pt x="2100" y="5385"/>
                    <a:pt x="2099" y="5377"/>
                    <a:pt x="2073" y="5216"/>
                  </a:cubicBezTo>
                  <a:cubicBezTo>
                    <a:pt x="2030" y="4953"/>
                    <a:pt x="1996" y="4512"/>
                    <a:pt x="1996" y="4213"/>
                  </a:cubicBezTo>
                  <a:lnTo>
                    <a:pt x="1996" y="4119"/>
                  </a:lnTo>
                  <a:lnTo>
                    <a:pt x="2045" y="4097"/>
                  </a:lnTo>
                  <a:cubicBezTo>
                    <a:pt x="2079" y="4083"/>
                    <a:pt x="2100" y="4070"/>
                    <a:pt x="2113" y="4056"/>
                  </a:cubicBezTo>
                  <a:cubicBezTo>
                    <a:pt x="2123" y="4044"/>
                    <a:pt x="2132" y="4032"/>
                    <a:pt x="2132" y="4029"/>
                  </a:cubicBezTo>
                  <a:cubicBezTo>
                    <a:pt x="2132" y="4019"/>
                    <a:pt x="2181" y="3970"/>
                    <a:pt x="2206" y="3956"/>
                  </a:cubicBezTo>
                  <a:cubicBezTo>
                    <a:pt x="2221" y="3947"/>
                    <a:pt x="2231" y="3937"/>
                    <a:pt x="2235" y="3925"/>
                  </a:cubicBezTo>
                  <a:cubicBezTo>
                    <a:pt x="2240" y="3908"/>
                    <a:pt x="2252" y="3811"/>
                    <a:pt x="2250" y="3800"/>
                  </a:cubicBezTo>
                  <a:cubicBezTo>
                    <a:pt x="2249" y="3797"/>
                    <a:pt x="2255" y="3791"/>
                    <a:pt x="2261" y="3788"/>
                  </a:cubicBezTo>
                  <a:cubicBezTo>
                    <a:pt x="2268" y="3784"/>
                    <a:pt x="2275" y="3779"/>
                    <a:pt x="2276" y="3778"/>
                  </a:cubicBezTo>
                  <a:cubicBezTo>
                    <a:pt x="2284" y="3770"/>
                    <a:pt x="2336" y="3391"/>
                    <a:pt x="2358" y="3181"/>
                  </a:cubicBezTo>
                  <a:cubicBezTo>
                    <a:pt x="2362" y="3135"/>
                    <a:pt x="2371" y="3057"/>
                    <a:pt x="2377" y="3008"/>
                  </a:cubicBezTo>
                  <a:cubicBezTo>
                    <a:pt x="2388" y="2911"/>
                    <a:pt x="2401" y="2659"/>
                    <a:pt x="2396" y="2628"/>
                  </a:cubicBezTo>
                  <a:cubicBezTo>
                    <a:pt x="2394" y="2617"/>
                    <a:pt x="2388" y="2542"/>
                    <a:pt x="2382" y="2459"/>
                  </a:cubicBezTo>
                  <a:cubicBezTo>
                    <a:pt x="2376" y="2377"/>
                    <a:pt x="2369" y="2289"/>
                    <a:pt x="2365" y="2265"/>
                  </a:cubicBezTo>
                  <a:cubicBezTo>
                    <a:pt x="2359" y="2215"/>
                    <a:pt x="2325" y="2109"/>
                    <a:pt x="2206" y="1756"/>
                  </a:cubicBezTo>
                  <a:cubicBezTo>
                    <a:pt x="2131" y="1535"/>
                    <a:pt x="2117" y="1487"/>
                    <a:pt x="2096" y="1368"/>
                  </a:cubicBezTo>
                  <a:cubicBezTo>
                    <a:pt x="2086" y="1312"/>
                    <a:pt x="2067" y="1276"/>
                    <a:pt x="2036" y="1255"/>
                  </a:cubicBezTo>
                  <a:cubicBezTo>
                    <a:pt x="2013" y="1240"/>
                    <a:pt x="1800" y="1161"/>
                    <a:pt x="1599" y="1094"/>
                  </a:cubicBezTo>
                  <a:cubicBezTo>
                    <a:pt x="1386" y="1022"/>
                    <a:pt x="1343" y="1001"/>
                    <a:pt x="1275" y="936"/>
                  </a:cubicBezTo>
                  <a:cubicBezTo>
                    <a:pt x="1255" y="917"/>
                    <a:pt x="1252" y="911"/>
                    <a:pt x="1252" y="892"/>
                  </a:cubicBezTo>
                  <a:cubicBezTo>
                    <a:pt x="1252" y="868"/>
                    <a:pt x="1259" y="855"/>
                    <a:pt x="1290" y="821"/>
                  </a:cubicBezTo>
                  <a:cubicBezTo>
                    <a:pt x="1310" y="799"/>
                    <a:pt x="1310" y="797"/>
                    <a:pt x="1313" y="743"/>
                  </a:cubicBezTo>
                  <a:cubicBezTo>
                    <a:pt x="1315" y="704"/>
                    <a:pt x="1319" y="683"/>
                    <a:pt x="1326" y="674"/>
                  </a:cubicBezTo>
                  <a:cubicBezTo>
                    <a:pt x="1339" y="654"/>
                    <a:pt x="1369" y="560"/>
                    <a:pt x="1379" y="509"/>
                  </a:cubicBezTo>
                  <a:cubicBezTo>
                    <a:pt x="1388" y="468"/>
                    <a:pt x="1388" y="465"/>
                    <a:pt x="1375" y="402"/>
                  </a:cubicBezTo>
                  <a:cubicBezTo>
                    <a:pt x="1368" y="366"/>
                    <a:pt x="1358" y="329"/>
                    <a:pt x="1353" y="320"/>
                  </a:cubicBezTo>
                  <a:cubicBezTo>
                    <a:pt x="1348" y="310"/>
                    <a:pt x="1344" y="297"/>
                    <a:pt x="1344" y="290"/>
                  </a:cubicBezTo>
                  <a:cubicBezTo>
                    <a:pt x="1344" y="279"/>
                    <a:pt x="1325" y="245"/>
                    <a:pt x="1313" y="237"/>
                  </a:cubicBezTo>
                  <a:cubicBezTo>
                    <a:pt x="1311" y="235"/>
                    <a:pt x="1286" y="204"/>
                    <a:pt x="1259" y="168"/>
                  </a:cubicBezTo>
                  <a:cubicBezTo>
                    <a:pt x="1231" y="131"/>
                    <a:pt x="1202" y="98"/>
                    <a:pt x="1194" y="92"/>
                  </a:cubicBezTo>
                  <a:cubicBezTo>
                    <a:pt x="1186" y="87"/>
                    <a:pt x="1169" y="70"/>
                    <a:pt x="1155" y="56"/>
                  </a:cubicBezTo>
                  <a:cubicBezTo>
                    <a:pt x="1125" y="24"/>
                    <a:pt x="1102" y="17"/>
                    <a:pt x="998" y="6"/>
                  </a:cubicBezTo>
                  <a:cubicBezTo>
                    <a:pt x="962" y="2"/>
                    <a:pt x="942" y="0"/>
                    <a:pt x="924" y="0"/>
                  </a:cubicBez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reeform 195">
              <a:extLst>
                <a:ext uri="{FF2B5EF4-FFF2-40B4-BE49-F238E27FC236}">
                  <a16:creationId xmlns:a16="http://schemas.microsoft.com/office/drawing/2014/main" id="{E018574D-B826-48A5-8CE6-1D0E745EE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" y="4102"/>
              <a:ext cx="7" cy="9"/>
            </a:xfrm>
            <a:custGeom>
              <a:avLst/>
              <a:gdLst>
                <a:gd name="T0" fmla="*/ 5 w 28"/>
                <a:gd name="T1" fmla="*/ 0 h 31"/>
                <a:gd name="T2" fmla="*/ 9 w 28"/>
                <a:gd name="T3" fmla="*/ 10 h 31"/>
                <a:gd name="T4" fmla="*/ 20 w 28"/>
                <a:gd name="T5" fmla="*/ 26 h 31"/>
                <a:gd name="T6" fmla="*/ 23 w 28"/>
                <a:gd name="T7" fmla="*/ 29 h 31"/>
                <a:gd name="T8" fmla="*/ 5 w 28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1">
                  <a:moveTo>
                    <a:pt x="5" y="0"/>
                  </a:moveTo>
                  <a:cubicBezTo>
                    <a:pt x="0" y="0"/>
                    <a:pt x="1" y="3"/>
                    <a:pt x="9" y="10"/>
                  </a:cubicBezTo>
                  <a:cubicBezTo>
                    <a:pt x="15" y="15"/>
                    <a:pt x="20" y="22"/>
                    <a:pt x="20" y="26"/>
                  </a:cubicBezTo>
                  <a:cubicBezTo>
                    <a:pt x="20" y="30"/>
                    <a:pt x="21" y="31"/>
                    <a:pt x="23" y="29"/>
                  </a:cubicBezTo>
                  <a:cubicBezTo>
                    <a:pt x="28" y="23"/>
                    <a:pt x="14" y="0"/>
                    <a:pt x="5" y="0"/>
                  </a:cubicBez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reeform 196">
              <a:extLst>
                <a:ext uri="{FF2B5EF4-FFF2-40B4-BE49-F238E27FC236}">
                  <a16:creationId xmlns:a16="http://schemas.microsoft.com/office/drawing/2014/main" id="{2D41DECB-1222-47FE-84B7-BA35D18D8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2" y="4104"/>
              <a:ext cx="3" cy="2"/>
            </a:xfrm>
            <a:custGeom>
              <a:avLst/>
              <a:gdLst>
                <a:gd name="T0" fmla="*/ 4 w 10"/>
                <a:gd name="T1" fmla="*/ 0 h 9"/>
                <a:gd name="T2" fmla="*/ 0 w 10"/>
                <a:gd name="T3" fmla="*/ 5 h 9"/>
                <a:gd name="T4" fmla="*/ 4 w 10"/>
                <a:gd name="T5" fmla="*/ 7 h 9"/>
                <a:gd name="T6" fmla="*/ 10 w 10"/>
                <a:gd name="T7" fmla="*/ 2 h 9"/>
                <a:gd name="T8" fmla="*/ 4 w 10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4" y="7"/>
                  </a:cubicBezTo>
                  <a:cubicBezTo>
                    <a:pt x="7" y="5"/>
                    <a:pt x="10" y="3"/>
                    <a:pt x="10" y="2"/>
                  </a:cubicBezTo>
                  <a:cubicBezTo>
                    <a:pt x="10" y="0"/>
                    <a:pt x="7" y="0"/>
                    <a:pt x="4" y="0"/>
                  </a:cubicBez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reeform 197">
              <a:extLst>
                <a:ext uri="{FF2B5EF4-FFF2-40B4-BE49-F238E27FC236}">
                  <a16:creationId xmlns:a16="http://schemas.microsoft.com/office/drawing/2014/main" id="{037BB02A-B4C7-4914-B1AF-0AC850FB8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7" y="4104"/>
              <a:ext cx="3" cy="4"/>
            </a:xfrm>
            <a:custGeom>
              <a:avLst/>
              <a:gdLst>
                <a:gd name="T0" fmla="*/ 7 w 11"/>
                <a:gd name="T1" fmla="*/ 1 h 15"/>
                <a:gd name="T2" fmla="*/ 3 w 11"/>
                <a:gd name="T3" fmla="*/ 7 h 15"/>
                <a:gd name="T4" fmla="*/ 5 w 11"/>
                <a:gd name="T5" fmla="*/ 10 h 15"/>
                <a:gd name="T6" fmla="*/ 9 w 11"/>
                <a:gd name="T7" fmla="*/ 1 h 15"/>
                <a:gd name="T8" fmla="*/ 7 w 11"/>
                <a:gd name="T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5">
                  <a:moveTo>
                    <a:pt x="7" y="1"/>
                  </a:moveTo>
                  <a:cubicBezTo>
                    <a:pt x="6" y="1"/>
                    <a:pt x="4" y="3"/>
                    <a:pt x="3" y="7"/>
                  </a:cubicBezTo>
                  <a:cubicBezTo>
                    <a:pt x="0" y="14"/>
                    <a:pt x="0" y="15"/>
                    <a:pt x="5" y="10"/>
                  </a:cubicBezTo>
                  <a:cubicBezTo>
                    <a:pt x="9" y="6"/>
                    <a:pt x="11" y="2"/>
                    <a:pt x="9" y="1"/>
                  </a:cubicBezTo>
                  <a:cubicBezTo>
                    <a:pt x="9" y="0"/>
                    <a:pt x="8" y="0"/>
                    <a:pt x="7" y="1"/>
                  </a:cubicBez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reeform 198">
              <a:extLst>
                <a:ext uri="{FF2B5EF4-FFF2-40B4-BE49-F238E27FC236}">
                  <a16:creationId xmlns:a16="http://schemas.microsoft.com/office/drawing/2014/main" id="{89D31D02-D7D2-43B4-9DFE-2BF99D6EE6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0" y="1968"/>
              <a:ext cx="677" cy="2181"/>
            </a:xfrm>
            <a:custGeom>
              <a:avLst/>
              <a:gdLst>
                <a:gd name="T0" fmla="*/ 2276 w 2481"/>
                <a:gd name="T1" fmla="*/ 134 h 7970"/>
                <a:gd name="T2" fmla="*/ 2191 w 2481"/>
                <a:gd name="T3" fmla="*/ 429 h 7970"/>
                <a:gd name="T4" fmla="*/ 2249 w 2481"/>
                <a:gd name="T5" fmla="*/ 803 h 7970"/>
                <a:gd name="T6" fmla="*/ 2132 w 2481"/>
                <a:gd name="T7" fmla="*/ 1051 h 7970"/>
                <a:gd name="T8" fmla="*/ 2021 w 2481"/>
                <a:gd name="T9" fmla="*/ 449 h 7970"/>
                <a:gd name="T10" fmla="*/ 1998 w 2481"/>
                <a:gd name="T11" fmla="*/ 100 h 7970"/>
                <a:gd name="T12" fmla="*/ 1023 w 2481"/>
                <a:gd name="T13" fmla="*/ 867 h 7970"/>
                <a:gd name="T14" fmla="*/ 1071 w 2481"/>
                <a:gd name="T15" fmla="*/ 1056 h 7970"/>
                <a:gd name="T16" fmla="*/ 1304 w 2481"/>
                <a:gd name="T17" fmla="*/ 1476 h 7970"/>
                <a:gd name="T18" fmla="*/ 1219 w 2481"/>
                <a:gd name="T19" fmla="*/ 1883 h 7970"/>
                <a:gd name="T20" fmla="*/ 1290 w 2481"/>
                <a:gd name="T21" fmla="*/ 1891 h 7970"/>
                <a:gd name="T22" fmla="*/ 1854 w 2481"/>
                <a:gd name="T23" fmla="*/ 1680 h 7970"/>
                <a:gd name="T24" fmla="*/ 2155 w 2481"/>
                <a:gd name="T25" fmla="*/ 1311 h 7970"/>
                <a:gd name="T26" fmla="*/ 2377 w 2481"/>
                <a:gd name="T27" fmla="*/ 1010 h 7970"/>
                <a:gd name="T28" fmla="*/ 2469 w 2481"/>
                <a:gd name="T29" fmla="*/ 1391 h 7970"/>
                <a:gd name="T30" fmla="*/ 2401 w 2481"/>
                <a:gd name="T31" fmla="*/ 1748 h 7970"/>
                <a:gd name="T32" fmla="*/ 1897 w 2481"/>
                <a:gd name="T33" fmla="*/ 2332 h 7970"/>
                <a:gd name="T34" fmla="*/ 1700 w 2481"/>
                <a:gd name="T35" fmla="*/ 2725 h 7970"/>
                <a:gd name="T36" fmla="*/ 1799 w 2481"/>
                <a:gd name="T37" fmla="*/ 3604 h 7970"/>
                <a:gd name="T38" fmla="*/ 1753 w 2481"/>
                <a:gd name="T39" fmla="*/ 3897 h 7970"/>
                <a:gd name="T40" fmla="*/ 1767 w 2481"/>
                <a:gd name="T41" fmla="*/ 3918 h 7970"/>
                <a:gd name="T42" fmla="*/ 1757 w 2481"/>
                <a:gd name="T43" fmla="*/ 4172 h 7970"/>
                <a:gd name="T44" fmla="*/ 1699 w 2481"/>
                <a:gd name="T45" fmla="*/ 4984 h 7970"/>
                <a:gd name="T46" fmla="*/ 1226 w 2481"/>
                <a:gd name="T47" fmla="*/ 6888 h 7970"/>
                <a:gd name="T48" fmla="*/ 1143 w 2481"/>
                <a:gd name="T49" fmla="*/ 7361 h 7970"/>
                <a:gd name="T50" fmla="*/ 1180 w 2481"/>
                <a:gd name="T51" fmla="*/ 7516 h 7970"/>
                <a:gd name="T52" fmla="*/ 1536 w 2481"/>
                <a:gd name="T53" fmla="*/ 7748 h 7970"/>
                <a:gd name="T54" fmla="*/ 1704 w 2481"/>
                <a:gd name="T55" fmla="*/ 7831 h 7970"/>
                <a:gd name="T56" fmla="*/ 1087 w 2481"/>
                <a:gd name="T57" fmla="*/ 7953 h 7970"/>
                <a:gd name="T58" fmla="*/ 515 w 2481"/>
                <a:gd name="T59" fmla="*/ 7929 h 7970"/>
                <a:gd name="T60" fmla="*/ 474 w 2481"/>
                <a:gd name="T61" fmla="*/ 7763 h 7970"/>
                <a:gd name="T62" fmla="*/ 391 w 2481"/>
                <a:gd name="T63" fmla="*/ 7755 h 7970"/>
                <a:gd name="T64" fmla="*/ 111 w 2481"/>
                <a:gd name="T65" fmla="*/ 7748 h 7970"/>
                <a:gd name="T66" fmla="*/ 81 w 2481"/>
                <a:gd name="T67" fmla="*/ 7557 h 7970"/>
                <a:gd name="T68" fmla="*/ 74 w 2481"/>
                <a:gd name="T69" fmla="*/ 7553 h 7970"/>
                <a:gd name="T70" fmla="*/ 0 w 2481"/>
                <a:gd name="T71" fmla="*/ 7201 h 7970"/>
                <a:gd name="T72" fmla="*/ 109 w 2481"/>
                <a:gd name="T73" fmla="*/ 6762 h 7970"/>
                <a:gd name="T74" fmla="*/ 411 w 2481"/>
                <a:gd name="T75" fmla="*/ 5956 h 7970"/>
                <a:gd name="T76" fmla="*/ 561 w 2481"/>
                <a:gd name="T77" fmla="*/ 5228 h 7970"/>
                <a:gd name="T78" fmla="*/ 514 w 2481"/>
                <a:gd name="T79" fmla="*/ 4172 h 7970"/>
                <a:gd name="T80" fmla="*/ 513 w 2481"/>
                <a:gd name="T81" fmla="*/ 4133 h 7970"/>
                <a:gd name="T82" fmla="*/ 508 w 2481"/>
                <a:gd name="T83" fmla="*/ 3936 h 7970"/>
                <a:gd name="T84" fmla="*/ 385 w 2481"/>
                <a:gd name="T85" fmla="*/ 3825 h 7970"/>
                <a:gd name="T86" fmla="*/ 416 w 2481"/>
                <a:gd name="T87" fmla="*/ 3678 h 7970"/>
                <a:gd name="T88" fmla="*/ 502 w 2481"/>
                <a:gd name="T89" fmla="*/ 3407 h 7970"/>
                <a:gd name="T90" fmla="*/ 330 w 2481"/>
                <a:gd name="T91" fmla="*/ 3057 h 7970"/>
                <a:gd name="T92" fmla="*/ 299 w 2481"/>
                <a:gd name="T93" fmla="*/ 2615 h 7970"/>
                <a:gd name="T94" fmla="*/ 238 w 2481"/>
                <a:gd name="T95" fmla="*/ 2418 h 7970"/>
                <a:gd name="T96" fmla="*/ 356 w 2481"/>
                <a:gd name="T97" fmla="*/ 2137 h 7970"/>
                <a:gd name="T98" fmla="*/ 875 w 2481"/>
                <a:gd name="T99" fmla="*/ 1899 h 7970"/>
                <a:gd name="T100" fmla="*/ 869 w 2481"/>
                <a:gd name="T101" fmla="*/ 900 h 7970"/>
                <a:gd name="T102" fmla="*/ 1003 w 2481"/>
                <a:gd name="T103" fmla="*/ 871 h 7970"/>
                <a:gd name="T104" fmla="*/ 1679 w 2481"/>
                <a:gd name="T105" fmla="*/ 3915 h 7970"/>
                <a:gd name="T106" fmla="*/ 1679 w 2481"/>
                <a:gd name="T107" fmla="*/ 3918 h 7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81" h="7970">
                  <a:moveTo>
                    <a:pt x="2182" y="17"/>
                  </a:moveTo>
                  <a:cubicBezTo>
                    <a:pt x="2232" y="30"/>
                    <a:pt x="2276" y="134"/>
                    <a:pt x="2276" y="134"/>
                  </a:cubicBezTo>
                  <a:lnTo>
                    <a:pt x="2260" y="284"/>
                  </a:lnTo>
                  <a:lnTo>
                    <a:pt x="2191" y="429"/>
                  </a:lnTo>
                  <a:lnTo>
                    <a:pt x="2202" y="547"/>
                  </a:lnTo>
                  <a:lnTo>
                    <a:pt x="2249" y="803"/>
                  </a:lnTo>
                  <a:lnTo>
                    <a:pt x="2351" y="1056"/>
                  </a:lnTo>
                  <a:lnTo>
                    <a:pt x="2132" y="1051"/>
                  </a:lnTo>
                  <a:lnTo>
                    <a:pt x="2119" y="868"/>
                  </a:lnTo>
                  <a:lnTo>
                    <a:pt x="2021" y="449"/>
                  </a:lnTo>
                  <a:lnTo>
                    <a:pt x="1958" y="240"/>
                  </a:lnTo>
                  <a:lnTo>
                    <a:pt x="1998" y="100"/>
                  </a:lnTo>
                  <a:cubicBezTo>
                    <a:pt x="1998" y="100"/>
                    <a:pt x="2114" y="0"/>
                    <a:pt x="2182" y="17"/>
                  </a:cubicBezTo>
                  <a:close/>
                  <a:moveTo>
                    <a:pt x="1023" y="867"/>
                  </a:moveTo>
                  <a:cubicBezTo>
                    <a:pt x="1069" y="866"/>
                    <a:pt x="1100" y="934"/>
                    <a:pt x="1100" y="980"/>
                  </a:cubicBezTo>
                  <a:cubicBezTo>
                    <a:pt x="1100" y="1011"/>
                    <a:pt x="1088" y="1039"/>
                    <a:pt x="1071" y="1056"/>
                  </a:cubicBezTo>
                  <a:cubicBezTo>
                    <a:pt x="1078" y="1069"/>
                    <a:pt x="1085" y="1084"/>
                    <a:pt x="1091" y="1099"/>
                  </a:cubicBezTo>
                  <a:cubicBezTo>
                    <a:pt x="1201" y="1159"/>
                    <a:pt x="1265" y="1313"/>
                    <a:pt x="1304" y="1476"/>
                  </a:cubicBezTo>
                  <a:cubicBezTo>
                    <a:pt x="1354" y="1686"/>
                    <a:pt x="1253" y="1655"/>
                    <a:pt x="1218" y="1719"/>
                  </a:cubicBezTo>
                  <a:cubicBezTo>
                    <a:pt x="1200" y="1752"/>
                    <a:pt x="1224" y="1839"/>
                    <a:pt x="1219" y="1883"/>
                  </a:cubicBezTo>
                  <a:cubicBezTo>
                    <a:pt x="1256" y="1881"/>
                    <a:pt x="1289" y="1880"/>
                    <a:pt x="1289" y="1880"/>
                  </a:cubicBezTo>
                  <a:cubicBezTo>
                    <a:pt x="1290" y="1884"/>
                    <a:pt x="1290" y="1887"/>
                    <a:pt x="1290" y="1891"/>
                  </a:cubicBezTo>
                  <a:cubicBezTo>
                    <a:pt x="1363" y="1836"/>
                    <a:pt x="1384" y="1865"/>
                    <a:pt x="1448" y="1840"/>
                  </a:cubicBezTo>
                  <a:lnTo>
                    <a:pt x="1854" y="1680"/>
                  </a:lnTo>
                  <a:lnTo>
                    <a:pt x="2112" y="1422"/>
                  </a:lnTo>
                  <a:lnTo>
                    <a:pt x="2155" y="1311"/>
                  </a:lnTo>
                  <a:lnTo>
                    <a:pt x="2106" y="1035"/>
                  </a:lnTo>
                  <a:lnTo>
                    <a:pt x="2377" y="1010"/>
                  </a:lnTo>
                  <a:lnTo>
                    <a:pt x="2426" y="1342"/>
                  </a:lnTo>
                  <a:lnTo>
                    <a:pt x="2469" y="1391"/>
                  </a:lnTo>
                  <a:lnTo>
                    <a:pt x="2481" y="1582"/>
                  </a:lnTo>
                  <a:lnTo>
                    <a:pt x="2401" y="1748"/>
                  </a:lnTo>
                  <a:lnTo>
                    <a:pt x="1995" y="2117"/>
                  </a:lnTo>
                  <a:lnTo>
                    <a:pt x="1897" y="2332"/>
                  </a:lnTo>
                  <a:lnTo>
                    <a:pt x="1743" y="2467"/>
                  </a:lnTo>
                  <a:lnTo>
                    <a:pt x="1700" y="2725"/>
                  </a:lnTo>
                  <a:lnTo>
                    <a:pt x="1755" y="2848"/>
                  </a:lnTo>
                  <a:lnTo>
                    <a:pt x="1799" y="3604"/>
                  </a:lnTo>
                  <a:lnTo>
                    <a:pt x="1915" y="3856"/>
                  </a:lnTo>
                  <a:lnTo>
                    <a:pt x="1753" y="3897"/>
                  </a:lnTo>
                  <a:lnTo>
                    <a:pt x="1754" y="3918"/>
                  </a:lnTo>
                  <a:lnTo>
                    <a:pt x="1767" y="3918"/>
                  </a:lnTo>
                  <a:lnTo>
                    <a:pt x="1767" y="4172"/>
                  </a:lnTo>
                  <a:lnTo>
                    <a:pt x="1757" y="4172"/>
                  </a:lnTo>
                  <a:lnTo>
                    <a:pt x="1769" y="4472"/>
                  </a:lnTo>
                  <a:lnTo>
                    <a:pt x="1699" y="4984"/>
                  </a:lnTo>
                  <a:lnTo>
                    <a:pt x="1391" y="6045"/>
                  </a:lnTo>
                  <a:lnTo>
                    <a:pt x="1226" y="6888"/>
                  </a:lnTo>
                  <a:lnTo>
                    <a:pt x="1182" y="7327"/>
                  </a:lnTo>
                  <a:lnTo>
                    <a:pt x="1143" y="7361"/>
                  </a:lnTo>
                  <a:cubicBezTo>
                    <a:pt x="1143" y="7361"/>
                    <a:pt x="1134" y="7445"/>
                    <a:pt x="1122" y="7526"/>
                  </a:cubicBezTo>
                  <a:lnTo>
                    <a:pt x="1180" y="7516"/>
                  </a:lnTo>
                  <a:cubicBezTo>
                    <a:pt x="1180" y="7516"/>
                    <a:pt x="1213" y="7632"/>
                    <a:pt x="1256" y="7668"/>
                  </a:cubicBezTo>
                  <a:cubicBezTo>
                    <a:pt x="1331" y="7730"/>
                    <a:pt x="1439" y="7742"/>
                    <a:pt x="1536" y="7748"/>
                  </a:cubicBezTo>
                  <a:cubicBezTo>
                    <a:pt x="1580" y="7751"/>
                    <a:pt x="1627" y="7707"/>
                    <a:pt x="1665" y="7729"/>
                  </a:cubicBezTo>
                  <a:cubicBezTo>
                    <a:pt x="1696" y="7747"/>
                    <a:pt x="1707" y="7795"/>
                    <a:pt x="1704" y="7831"/>
                  </a:cubicBezTo>
                  <a:cubicBezTo>
                    <a:pt x="1700" y="7876"/>
                    <a:pt x="1632" y="7946"/>
                    <a:pt x="1632" y="7946"/>
                  </a:cubicBezTo>
                  <a:cubicBezTo>
                    <a:pt x="1632" y="7946"/>
                    <a:pt x="1102" y="7957"/>
                    <a:pt x="1087" y="7953"/>
                  </a:cubicBezTo>
                  <a:cubicBezTo>
                    <a:pt x="1071" y="7948"/>
                    <a:pt x="704" y="7970"/>
                    <a:pt x="704" y="7970"/>
                  </a:cubicBezTo>
                  <a:cubicBezTo>
                    <a:pt x="704" y="7970"/>
                    <a:pt x="570" y="7962"/>
                    <a:pt x="515" y="7929"/>
                  </a:cubicBezTo>
                  <a:cubicBezTo>
                    <a:pt x="488" y="7912"/>
                    <a:pt x="480" y="7824"/>
                    <a:pt x="474" y="7792"/>
                  </a:cubicBezTo>
                  <a:cubicBezTo>
                    <a:pt x="472" y="7782"/>
                    <a:pt x="472" y="7772"/>
                    <a:pt x="474" y="7763"/>
                  </a:cubicBezTo>
                  <a:lnTo>
                    <a:pt x="419" y="7777"/>
                  </a:lnTo>
                  <a:cubicBezTo>
                    <a:pt x="414" y="7778"/>
                    <a:pt x="404" y="7770"/>
                    <a:pt x="391" y="7755"/>
                  </a:cubicBezTo>
                  <a:cubicBezTo>
                    <a:pt x="344" y="7764"/>
                    <a:pt x="292" y="7773"/>
                    <a:pt x="257" y="7770"/>
                  </a:cubicBezTo>
                  <a:cubicBezTo>
                    <a:pt x="208" y="7767"/>
                    <a:pt x="154" y="7773"/>
                    <a:pt x="111" y="7748"/>
                  </a:cubicBezTo>
                  <a:cubicBezTo>
                    <a:pt x="83" y="7732"/>
                    <a:pt x="57" y="7704"/>
                    <a:pt x="50" y="7672"/>
                  </a:cubicBezTo>
                  <a:cubicBezTo>
                    <a:pt x="42" y="7633"/>
                    <a:pt x="74" y="7568"/>
                    <a:pt x="81" y="7557"/>
                  </a:cubicBezTo>
                  <a:lnTo>
                    <a:pt x="88" y="7555"/>
                  </a:lnTo>
                  <a:lnTo>
                    <a:pt x="74" y="7553"/>
                  </a:lnTo>
                  <a:lnTo>
                    <a:pt x="91" y="7462"/>
                  </a:lnTo>
                  <a:lnTo>
                    <a:pt x="0" y="7201"/>
                  </a:lnTo>
                  <a:lnTo>
                    <a:pt x="126" y="7109"/>
                  </a:lnTo>
                  <a:lnTo>
                    <a:pt x="109" y="6762"/>
                  </a:lnTo>
                  <a:lnTo>
                    <a:pt x="274" y="6258"/>
                  </a:lnTo>
                  <a:lnTo>
                    <a:pt x="411" y="5956"/>
                  </a:lnTo>
                  <a:cubicBezTo>
                    <a:pt x="464" y="5772"/>
                    <a:pt x="521" y="5638"/>
                    <a:pt x="572" y="5425"/>
                  </a:cubicBezTo>
                  <a:lnTo>
                    <a:pt x="561" y="5228"/>
                  </a:lnTo>
                  <a:lnTo>
                    <a:pt x="474" y="4411"/>
                  </a:lnTo>
                  <a:lnTo>
                    <a:pt x="514" y="4172"/>
                  </a:lnTo>
                  <a:lnTo>
                    <a:pt x="513" y="4172"/>
                  </a:lnTo>
                  <a:lnTo>
                    <a:pt x="513" y="4133"/>
                  </a:lnTo>
                  <a:lnTo>
                    <a:pt x="502" y="4133"/>
                  </a:lnTo>
                  <a:lnTo>
                    <a:pt x="508" y="3936"/>
                  </a:lnTo>
                  <a:lnTo>
                    <a:pt x="490" y="3813"/>
                  </a:lnTo>
                  <a:lnTo>
                    <a:pt x="385" y="3825"/>
                  </a:lnTo>
                  <a:lnTo>
                    <a:pt x="428" y="3764"/>
                  </a:lnTo>
                  <a:lnTo>
                    <a:pt x="416" y="3678"/>
                  </a:lnTo>
                  <a:lnTo>
                    <a:pt x="545" y="3469"/>
                  </a:lnTo>
                  <a:lnTo>
                    <a:pt x="502" y="3407"/>
                  </a:lnTo>
                  <a:lnTo>
                    <a:pt x="409" y="3174"/>
                  </a:lnTo>
                  <a:lnTo>
                    <a:pt x="330" y="3057"/>
                  </a:lnTo>
                  <a:lnTo>
                    <a:pt x="360" y="2983"/>
                  </a:lnTo>
                  <a:lnTo>
                    <a:pt x="299" y="2615"/>
                  </a:lnTo>
                  <a:lnTo>
                    <a:pt x="250" y="2602"/>
                  </a:lnTo>
                  <a:lnTo>
                    <a:pt x="238" y="2418"/>
                  </a:lnTo>
                  <a:lnTo>
                    <a:pt x="348" y="2129"/>
                  </a:lnTo>
                  <a:lnTo>
                    <a:pt x="356" y="2137"/>
                  </a:lnTo>
                  <a:cubicBezTo>
                    <a:pt x="391" y="2081"/>
                    <a:pt x="461" y="1980"/>
                    <a:pt x="527" y="1961"/>
                  </a:cubicBezTo>
                  <a:cubicBezTo>
                    <a:pt x="635" y="1916"/>
                    <a:pt x="921" y="1930"/>
                    <a:pt x="875" y="1899"/>
                  </a:cubicBezTo>
                  <a:cubicBezTo>
                    <a:pt x="699" y="1899"/>
                    <a:pt x="437" y="1722"/>
                    <a:pt x="437" y="1470"/>
                  </a:cubicBezTo>
                  <a:cubicBezTo>
                    <a:pt x="437" y="1218"/>
                    <a:pt x="693" y="900"/>
                    <a:pt x="869" y="900"/>
                  </a:cubicBezTo>
                  <a:cubicBezTo>
                    <a:pt x="925" y="900"/>
                    <a:pt x="974" y="927"/>
                    <a:pt x="1014" y="971"/>
                  </a:cubicBezTo>
                  <a:cubicBezTo>
                    <a:pt x="1057" y="947"/>
                    <a:pt x="974" y="885"/>
                    <a:pt x="1003" y="871"/>
                  </a:cubicBezTo>
                  <a:cubicBezTo>
                    <a:pt x="1010" y="868"/>
                    <a:pt x="1017" y="867"/>
                    <a:pt x="1023" y="867"/>
                  </a:cubicBezTo>
                  <a:close/>
                  <a:moveTo>
                    <a:pt x="1679" y="3915"/>
                  </a:moveTo>
                  <a:lnTo>
                    <a:pt x="1668" y="3918"/>
                  </a:lnTo>
                  <a:lnTo>
                    <a:pt x="1679" y="3918"/>
                  </a:lnTo>
                  <a:lnTo>
                    <a:pt x="1679" y="3915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reeform 199">
              <a:extLst>
                <a:ext uri="{FF2B5EF4-FFF2-40B4-BE49-F238E27FC236}">
                  <a16:creationId xmlns:a16="http://schemas.microsoft.com/office/drawing/2014/main" id="{EC31D657-6D56-4127-8CC9-FBE389D0C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0" y="1085"/>
              <a:ext cx="764" cy="1026"/>
            </a:xfrm>
            <a:custGeom>
              <a:avLst/>
              <a:gdLst>
                <a:gd name="T0" fmla="*/ 1106 w 2798"/>
                <a:gd name="T1" fmla="*/ 182 h 3747"/>
                <a:gd name="T2" fmla="*/ 1346 w 2798"/>
                <a:gd name="T3" fmla="*/ 125 h 3747"/>
                <a:gd name="T4" fmla="*/ 1754 w 2798"/>
                <a:gd name="T5" fmla="*/ 70 h 3747"/>
                <a:gd name="T6" fmla="*/ 2199 w 2798"/>
                <a:gd name="T7" fmla="*/ 80 h 3747"/>
                <a:gd name="T8" fmla="*/ 2190 w 2798"/>
                <a:gd name="T9" fmla="*/ 13 h 3747"/>
                <a:gd name="T10" fmla="*/ 2256 w 2798"/>
                <a:gd name="T11" fmla="*/ 0 h 3747"/>
                <a:gd name="T12" fmla="*/ 2273 w 2798"/>
                <a:gd name="T13" fmla="*/ 10 h 3747"/>
                <a:gd name="T14" fmla="*/ 2798 w 2798"/>
                <a:gd name="T15" fmla="*/ 3722 h 3747"/>
                <a:gd name="T16" fmla="*/ 2781 w 2798"/>
                <a:gd name="T17" fmla="*/ 3741 h 3747"/>
                <a:gd name="T18" fmla="*/ 2715 w 2798"/>
                <a:gd name="T19" fmla="*/ 3747 h 3747"/>
                <a:gd name="T20" fmla="*/ 2699 w 2798"/>
                <a:gd name="T21" fmla="*/ 3732 h 3747"/>
                <a:gd name="T22" fmla="*/ 2442 w 2798"/>
                <a:gd name="T23" fmla="*/ 1875 h 3747"/>
                <a:gd name="T24" fmla="*/ 1777 w 2798"/>
                <a:gd name="T25" fmla="*/ 1914 h 3747"/>
                <a:gd name="T26" fmla="*/ 1155 w 2798"/>
                <a:gd name="T27" fmla="*/ 2080 h 3747"/>
                <a:gd name="T28" fmla="*/ 993 w 2798"/>
                <a:gd name="T29" fmla="*/ 2153 h 3747"/>
                <a:gd name="T30" fmla="*/ 1035 w 2798"/>
                <a:gd name="T31" fmla="*/ 2228 h 3747"/>
                <a:gd name="T32" fmla="*/ 1119 w 2798"/>
                <a:gd name="T33" fmla="*/ 2350 h 3747"/>
                <a:gd name="T34" fmla="*/ 889 w 2798"/>
                <a:gd name="T35" fmla="*/ 2520 h 3747"/>
                <a:gd name="T36" fmla="*/ 666 w 2798"/>
                <a:gd name="T37" fmla="*/ 2674 h 3747"/>
                <a:gd name="T38" fmla="*/ 734 w 2798"/>
                <a:gd name="T39" fmla="*/ 2798 h 3747"/>
                <a:gd name="T40" fmla="*/ 760 w 2798"/>
                <a:gd name="T41" fmla="*/ 2900 h 3747"/>
                <a:gd name="T42" fmla="*/ 601 w 2798"/>
                <a:gd name="T43" fmla="*/ 2690 h 3747"/>
                <a:gd name="T44" fmla="*/ 519 w 2798"/>
                <a:gd name="T45" fmla="*/ 2453 h 3747"/>
                <a:gd name="T46" fmla="*/ 455 w 2798"/>
                <a:gd name="T47" fmla="*/ 2341 h 3747"/>
                <a:gd name="T48" fmla="*/ 359 w 2798"/>
                <a:gd name="T49" fmla="*/ 2141 h 3747"/>
                <a:gd name="T50" fmla="*/ 175 w 2798"/>
                <a:gd name="T51" fmla="*/ 1919 h 3747"/>
                <a:gd name="T52" fmla="*/ 5 w 2798"/>
                <a:gd name="T53" fmla="*/ 1596 h 3747"/>
                <a:gd name="T54" fmla="*/ 190 w 2798"/>
                <a:gd name="T55" fmla="*/ 1297 h 3747"/>
                <a:gd name="T56" fmla="*/ 312 w 2798"/>
                <a:gd name="T57" fmla="*/ 1135 h 3747"/>
                <a:gd name="T58" fmla="*/ 210 w 2798"/>
                <a:gd name="T59" fmla="*/ 1003 h 3747"/>
                <a:gd name="T60" fmla="*/ 190 w 2798"/>
                <a:gd name="T61" fmla="*/ 865 h 3747"/>
                <a:gd name="T62" fmla="*/ 333 w 2798"/>
                <a:gd name="T63" fmla="*/ 628 h 3747"/>
                <a:gd name="T64" fmla="*/ 526 w 2798"/>
                <a:gd name="T65" fmla="*/ 429 h 3747"/>
                <a:gd name="T66" fmla="*/ 872 w 2798"/>
                <a:gd name="T67" fmla="*/ 258 h 3747"/>
                <a:gd name="T68" fmla="*/ 1106 w 2798"/>
                <a:gd name="T69" fmla="*/ 182 h 3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98" h="3747">
                  <a:moveTo>
                    <a:pt x="1106" y="182"/>
                  </a:moveTo>
                  <a:cubicBezTo>
                    <a:pt x="1185" y="161"/>
                    <a:pt x="1266" y="143"/>
                    <a:pt x="1346" y="125"/>
                  </a:cubicBezTo>
                  <a:cubicBezTo>
                    <a:pt x="1480" y="96"/>
                    <a:pt x="1617" y="77"/>
                    <a:pt x="1754" y="70"/>
                  </a:cubicBezTo>
                  <a:cubicBezTo>
                    <a:pt x="1903" y="63"/>
                    <a:pt x="2051" y="70"/>
                    <a:pt x="2199" y="80"/>
                  </a:cubicBezTo>
                  <a:lnTo>
                    <a:pt x="2190" y="13"/>
                  </a:lnTo>
                  <a:lnTo>
                    <a:pt x="2256" y="0"/>
                  </a:lnTo>
                  <a:lnTo>
                    <a:pt x="2273" y="10"/>
                  </a:lnTo>
                  <a:lnTo>
                    <a:pt x="2798" y="3722"/>
                  </a:lnTo>
                  <a:lnTo>
                    <a:pt x="2781" y="3741"/>
                  </a:lnTo>
                  <a:lnTo>
                    <a:pt x="2715" y="3747"/>
                  </a:lnTo>
                  <a:lnTo>
                    <a:pt x="2699" y="3732"/>
                  </a:lnTo>
                  <a:lnTo>
                    <a:pt x="2442" y="1875"/>
                  </a:lnTo>
                  <a:cubicBezTo>
                    <a:pt x="2220" y="1867"/>
                    <a:pt x="1994" y="1860"/>
                    <a:pt x="1777" y="1914"/>
                  </a:cubicBezTo>
                  <a:cubicBezTo>
                    <a:pt x="1568" y="1966"/>
                    <a:pt x="1358" y="2012"/>
                    <a:pt x="1155" y="2080"/>
                  </a:cubicBezTo>
                  <a:cubicBezTo>
                    <a:pt x="1099" y="2099"/>
                    <a:pt x="1038" y="2113"/>
                    <a:pt x="993" y="2153"/>
                  </a:cubicBezTo>
                  <a:cubicBezTo>
                    <a:pt x="942" y="2199"/>
                    <a:pt x="994" y="2214"/>
                    <a:pt x="1035" y="2228"/>
                  </a:cubicBezTo>
                  <a:cubicBezTo>
                    <a:pt x="1082" y="2244"/>
                    <a:pt x="1148" y="2296"/>
                    <a:pt x="1119" y="2350"/>
                  </a:cubicBezTo>
                  <a:cubicBezTo>
                    <a:pt x="1074" y="2437"/>
                    <a:pt x="969" y="2470"/>
                    <a:pt x="889" y="2520"/>
                  </a:cubicBezTo>
                  <a:cubicBezTo>
                    <a:pt x="813" y="2567"/>
                    <a:pt x="707" y="2588"/>
                    <a:pt x="666" y="2674"/>
                  </a:cubicBezTo>
                  <a:cubicBezTo>
                    <a:pt x="641" y="2728"/>
                    <a:pt x="695" y="2772"/>
                    <a:pt x="734" y="2798"/>
                  </a:cubicBezTo>
                  <a:cubicBezTo>
                    <a:pt x="764" y="2817"/>
                    <a:pt x="794" y="2910"/>
                    <a:pt x="760" y="2900"/>
                  </a:cubicBezTo>
                  <a:cubicBezTo>
                    <a:pt x="680" y="2877"/>
                    <a:pt x="626" y="2778"/>
                    <a:pt x="601" y="2690"/>
                  </a:cubicBezTo>
                  <a:cubicBezTo>
                    <a:pt x="579" y="2610"/>
                    <a:pt x="552" y="2530"/>
                    <a:pt x="519" y="2453"/>
                  </a:cubicBezTo>
                  <a:cubicBezTo>
                    <a:pt x="502" y="2412"/>
                    <a:pt x="474" y="2380"/>
                    <a:pt x="455" y="2341"/>
                  </a:cubicBezTo>
                  <a:cubicBezTo>
                    <a:pt x="422" y="2275"/>
                    <a:pt x="419" y="2203"/>
                    <a:pt x="359" y="2141"/>
                  </a:cubicBezTo>
                  <a:cubicBezTo>
                    <a:pt x="299" y="2079"/>
                    <a:pt x="251" y="1998"/>
                    <a:pt x="175" y="1919"/>
                  </a:cubicBezTo>
                  <a:cubicBezTo>
                    <a:pt x="99" y="1841"/>
                    <a:pt x="0" y="1726"/>
                    <a:pt x="5" y="1596"/>
                  </a:cubicBezTo>
                  <a:cubicBezTo>
                    <a:pt x="9" y="1471"/>
                    <a:pt x="98" y="1373"/>
                    <a:pt x="190" y="1297"/>
                  </a:cubicBezTo>
                  <a:cubicBezTo>
                    <a:pt x="241" y="1254"/>
                    <a:pt x="306" y="1206"/>
                    <a:pt x="312" y="1135"/>
                  </a:cubicBezTo>
                  <a:cubicBezTo>
                    <a:pt x="316" y="1071"/>
                    <a:pt x="255" y="1035"/>
                    <a:pt x="210" y="1003"/>
                  </a:cubicBezTo>
                  <a:cubicBezTo>
                    <a:pt x="163" y="970"/>
                    <a:pt x="177" y="911"/>
                    <a:pt x="190" y="865"/>
                  </a:cubicBezTo>
                  <a:cubicBezTo>
                    <a:pt x="216" y="777"/>
                    <a:pt x="274" y="699"/>
                    <a:pt x="333" y="628"/>
                  </a:cubicBezTo>
                  <a:cubicBezTo>
                    <a:pt x="392" y="558"/>
                    <a:pt x="448" y="482"/>
                    <a:pt x="526" y="429"/>
                  </a:cubicBezTo>
                  <a:cubicBezTo>
                    <a:pt x="633" y="355"/>
                    <a:pt x="753" y="307"/>
                    <a:pt x="872" y="258"/>
                  </a:cubicBezTo>
                  <a:cubicBezTo>
                    <a:pt x="948" y="227"/>
                    <a:pt x="1026" y="203"/>
                    <a:pt x="1106" y="182"/>
                  </a:cubicBez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Rectangle 200">
              <a:extLst>
                <a:ext uri="{FF2B5EF4-FFF2-40B4-BE49-F238E27FC236}">
                  <a16:creationId xmlns:a16="http://schemas.microsoft.com/office/drawing/2014/main" id="{A69BA7C7-586E-4262-A1ED-2FE34AEADA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6" y="1236"/>
              <a:ext cx="703" cy="440"/>
            </a:xfrm>
            <a:prstGeom prst="rect">
              <a:avLst/>
            </a:prstGeom>
            <a:grpFill/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Rectangle 201">
              <a:extLst>
                <a:ext uri="{FF2B5EF4-FFF2-40B4-BE49-F238E27FC236}">
                  <a16:creationId xmlns:a16="http://schemas.microsoft.com/office/drawing/2014/main" id="{D6DA8389-AE32-49EF-9650-E60C5C9E2D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2" y="1210"/>
              <a:ext cx="51" cy="1057"/>
            </a:xfrm>
            <a:prstGeom prst="rect">
              <a:avLst/>
            </a:prstGeom>
            <a:grpFill/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reeform 202">
              <a:extLst>
                <a:ext uri="{FF2B5EF4-FFF2-40B4-BE49-F238E27FC236}">
                  <a16:creationId xmlns:a16="http://schemas.microsoft.com/office/drawing/2014/main" id="{2ABFD00A-6C03-48FE-991B-4322F24593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0" y="1978"/>
              <a:ext cx="678" cy="2181"/>
            </a:xfrm>
            <a:custGeom>
              <a:avLst/>
              <a:gdLst>
                <a:gd name="T0" fmla="*/ 205 w 2481"/>
                <a:gd name="T1" fmla="*/ 134 h 7970"/>
                <a:gd name="T2" fmla="*/ 290 w 2481"/>
                <a:gd name="T3" fmla="*/ 430 h 7970"/>
                <a:gd name="T4" fmla="*/ 232 w 2481"/>
                <a:gd name="T5" fmla="*/ 804 h 7970"/>
                <a:gd name="T6" fmla="*/ 349 w 2481"/>
                <a:gd name="T7" fmla="*/ 1051 h 7970"/>
                <a:gd name="T8" fmla="*/ 460 w 2481"/>
                <a:gd name="T9" fmla="*/ 449 h 7970"/>
                <a:gd name="T10" fmla="*/ 483 w 2481"/>
                <a:gd name="T11" fmla="*/ 101 h 7970"/>
                <a:gd name="T12" fmla="*/ 1457 w 2481"/>
                <a:gd name="T13" fmla="*/ 867 h 7970"/>
                <a:gd name="T14" fmla="*/ 1410 w 2481"/>
                <a:gd name="T15" fmla="*/ 1056 h 7970"/>
                <a:gd name="T16" fmla="*/ 1177 w 2481"/>
                <a:gd name="T17" fmla="*/ 1476 h 7970"/>
                <a:gd name="T18" fmla="*/ 1261 w 2481"/>
                <a:gd name="T19" fmla="*/ 1883 h 7970"/>
                <a:gd name="T20" fmla="*/ 1191 w 2481"/>
                <a:gd name="T21" fmla="*/ 1891 h 7970"/>
                <a:gd name="T22" fmla="*/ 627 w 2481"/>
                <a:gd name="T23" fmla="*/ 1681 h 7970"/>
                <a:gd name="T24" fmla="*/ 326 w 2481"/>
                <a:gd name="T25" fmla="*/ 1312 h 7970"/>
                <a:gd name="T26" fmla="*/ 104 w 2481"/>
                <a:gd name="T27" fmla="*/ 1011 h 7970"/>
                <a:gd name="T28" fmla="*/ 12 w 2481"/>
                <a:gd name="T29" fmla="*/ 1392 h 7970"/>
                <a:gd name="T30" fmla="*/ 80 w 2481"/>
                <a:gd name="T31" fmla="*/ 1748 h 7970"/>
                <a:gd name="T32" fmla="*/ 584 w 2481"/>
                <a:gd name="T33" fmla="*/ 2332 h 7970"/>
                <a:gd name="T34" fmla="*/ 781 w 2481"/>
                <a:gd name="T35" fmla="*/ 2725 h 7970"/>
                <a:gd name="T36" fmla="*/ 682 w 2481"/>
                <a:gd name="T37" fmla="*/ 3604 h 7970"/>
                <a:gd name="T38" fmla="*/ 728 w 2481"/>
                <a:gd name="T39" fmla="*/ 3897 h 7970"/>
                <a:gd name="T40" fmla="*/ 714 w 2481"/>
                <a:gd name="T41" fmla="*/ 3918 h 7970"/>
                <a:gd name="T42" fmla="*/ 724 w 2481"/>
                <a:gd name="T43" fmla="*/ 4173 h 7970"/>
                <a:gd name="T44" fmla="*/ 781 w 2481"/>
                <a:gd name="T45" fmla="*/ 4984 h 7970"/>
                <a:gd name="T46" fmla="*/ 1255 w 2481"/>
                <a:gd name="T47" fmla="*/ 6888 h 7970"/>
                <a:gd name="T48" fmla="*/ 1338 w 2481"/>
                <a:gd name="T49" fmla="*/ 7362 h 7970"/>
                <a:gd name="T50" fmla="*/ 1301 w 2481"/>
                <a:gd name="T51" fmla="*/ 7516 h 7970"/>
                <a:gd name="T52" fmla="*/ 944 w 2481"/>
                <a:gd name="T53" fmla="*/ 7749 h 7970"/>
                <a:gd name="T54" fmla="*/ 777 w 2481"/>
                <a:gd name="T55" fmla="*/ 7832 h 7970"/>
                <a:gd name="T56" fmla="*/ 1394 w 2481"/>
                <a:gd name="T57" fmla="*/ 7953 h 7970"/>
                <a:gd name="T58" fmla="*/ 1965 w 2481"/>
                <a:gd name="T59" fmla="*/ 7929 h 7970"/>
                <a:gd name="T60" fmla="*/ 2007 w 2481"/>
                <a:gd name="T61" fmla="*/ 7763 h 7970"/>
                <a:gd name="T62" fmla="*/ 2090 w 2481"/>
                <a:gd name="T63" fmla="*/ 7755 h 7970"/>
                <a:gd name="T64" fmla="*/ 2370 w 2481"/>
                <a:gd name="T65" fmla="*/ 7749 h 7970"/>
                <a:gd name="T66" fmla="*/ 2400 w 2481"/>
                <a:gd name="T67" fmla="*/ 7557 h 7970"/>
                <a:gd name="T68" fmla="*/ 2407 w 2481"/>
                <a:gd name="T69" fmla="*/ 7553 h 7970"/>
                <a:gd name="T70" fmla="*/ 2481 w 2481"/>
                <a:gd name="T71" fmla="*/ 7201 h 7970"/>
                <a:gd name="T72" fmla="*/ 2372 w 2481"/>
                <a:gd name="T73" fmla="*/ 6762 h 7970"/>
                <a:gd name="T74" fmla="*/ 2070 w 2481"/>
                <a:gd name="T75" fmla="*/ 5956 h 7970"/>
                <a:gd name="T76" fmla="*/ 1920 w 2481"/>
                <a:gd name="T77" fmla="*/ 5228 h 7970"/>
                <a:gd name="T78" fmla="*/ 1967 w 2481"/>
                <a:gd name="T79" fmla="*/ 4173 h 7970"/>
                <a:gd name="T80" fmla="*/ 1968 w 2481"/>
                <a:gd name="T81" fmla="*/ 4133 h 7970"/>
                <a:gd name="T82" fmla="*/ 1973 w 2481"/>
                <a:gd name="T83" fmla="*/ 3936 h 7970"/>
                <a:gd name="T84" fmla="*/ 2096 w 2481"/>
                <a:gd name="T85" fmla="*/ 3826 h 7970"/>
                <a:gd name="T86" fmla="*/ 2065 w 2481"/>
                <a:gd name="T87" fmla="*/ 3678 h 7970"/>
                <a:gd name="T88" fmla="*/ 1979 w 2481"/>
                <a:gd name="T89" fmla="*/ 3408 h 7970"/>
                <a:gd name="T90" fmla="*/ 2151 w 2481"/>
                <a:gd name="T91" fmla="*/ 3058 h 7970"/>
                <a:gd name="T92" fmla="*/ 2182 w 2481"/>
                <a:gd name="T93" fmla="*/ 2615 h 7970"/>
                <a:gd name="T94" fmla="*/ 2243 w 2481"/>
                <a:gd name="T95" fmla="*/ 2418 h 7970"/>
                <a:gd name="T96" fmla="*/ 2124 w 2481"/>
                <a:gd name="T97" fmla="*/ 2137 h 7970"/>
                <a:gd name="T98" fmla="*/ 1606 w 2481"/>
                <a:gd name="T99" fmla="*/ 1899 h 7970"/>
                <a:gd name="T100" fmla="*/ 1612 w 2481"/>
                <a:gd name="T101" fmla="*/ 900 h 7970"/>
                <a:gd name="T102" fmla="*/ 1478 w 2481"/>
                <a:gd name="T103" fmla="*/ 872 h 7970"/>
                <a:gd name="T104" fmla="*/ 802 w 2481"/>
                <a:gd name="T105" fmla="*/ 3916 h 7970"/>
                <a:gd name="T106" fmla="*/ 802 w 2481"/>
                <a:gd name="T107" fmla="*/ 3918 h 7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81" h="7970">
                  <a:moveTo>
                    <a:pt x="299" y="17"/>
                  </a:moveTo>
                  <a:cubicBezTo>
                    <a:pt x="249" y="30"/>
                    <a:pt x="205" y="134"/>
                    <a:pt x="205" y="134"/>
                  </a:cubicBezTo>
                  <a:lnTo>
                    <a:pt x="221" y="284"/>
                  </a:lnTo>
                  <a:lnTo>
                    <a:pt x="290" y="430"/>
                  </a:lnTo>
                  <a:lnTo>
                    <a:pt x="279" y="547"/>
                  </a:lnTo>
                  <a:lnTo>
                    <a:pt x="232" y="804"/>
                  </a:lnTo>
                  <a:lnTo>
                    <a:pt x="130" y="1056"/>
                  </a:lnTo>
                  <a:lnTo>
                    <a:pt x="349" y="1051"/>
                  </a:lnTo>
                  <a:lnTo>
                    <a:pt x="362" y="869"/>
                  </a:lnTo>
                  <a:lnTo>
                    <a:pt x="460" y="449"/>
                  </a:lnTo>
                  <a:lnTo>
                    <a:pt x="523" y="241"/>
                  </a:lnTo>
                  <a:lnTo>
                    <a:pt x="483" y="101"/>
                  </a:lnTo>
                  <a:cubicBezTo>
                    <a:pt x="483" y="101"/>
                    <a:pt x="367" y="0"/>
                    <a:pt x="299" y="17"/>
                  </a:cubicBezTo>
                  <a:close/>
                  <a:moveTo>
                    <a:pt x="1457" y="867"/>
                  </a:moveTo>
                  <a:cubicBezTo>
                    <a:pt x="1412" y="866"/>
                    <a:pt x="1381" y="935"/>
                    <a:pt x="1381" y="980"/>
                  </a:cubicBezTo>
                  <a:cubicBezTo>
                    <a:pt x="1381" y="1011"/>
                    <a:pt x="1393" y="1039"/>
                    <a:pt x="1410" y="1056"/>
                  </a:cubicBezTo>
                  <a:cubicBezTo>
                    <a:pt x="1403" y="1070"/>
                    <a:pt x="1396" y="1084"/>
                    <a:pt x="1390" y="1099"/>
                  </a:cubicBezTo>
                  <a:cubicBezTo>
                    <a:pt x="1280" y="1159"/>
                    <a:pt x="1215" y="1314"/>
                    <a:pt x="1177" y="1476"/>
                  </a:cubicBezTo>
                  <a:cubicBezTo>
                    <a:pt x="1127" y="1686"/>
                    <a:pt x="1228" y="1656"/>
                    <a:pt x="1263" y="1719"/>
                  </a:cubicBezTo>
                  <a:cubicBezTo>
                    <a:pt x="1281" y="1752"/>
                    <a:pt x="1257" y="1839"/>
                    <a:pt x="1261" y="1883"/>
                  </a:cubicBezTo>
                  <a:cubicBezTo>
                    <a:pt x="1225" y="1881"/>
                    <a:pt x="1192" y="1880"/>
                    <a:pt x="1192" y="1880"/>
                  </a:cubicBezTo>
                  <a:cubicBezTo>
                    <a:pt x="1191" y="1884"/>
                    <a:pt x="1191" y="1888"/>
                    <a:pt x="1191" y="1891"/>
                  </a:cubicBezTo>
                  <a:cubicBezTo>
                    <a:pt x="1118" y="1836"/>
                    <a:pt x="1097" y="1866"/>
                    <a:pt x="1033" y="1840"/>
                  </a:cubicBezTo>
                  <a:lnTo>
                    <a:pt x="627" y="1681"/>
                  </a:lnTo>
                  <a:lnTo>
                    <a:pt x="369" y="1423"/>
                  </a:lnTo>
                  <a:lnTo>
                    <a:pt x="326" y="1312"/>
                  </a:lnTo>
                  <a:lnTo>
                    <a:pt x="375" y="1035"/>
                  </a:lnTo>
                  <a:lnTo>
                    <a:pt x="104" y="1011"/>
                  </a:lnTo>
                  <a:lnTo>
                    <a:pt x="55" y="1342"/>
                  </a:lnTo>
                  <a:lnTo>
                    <a:pt x="12" y="1392"/>
                  </a:lnTo>
                  <a:lnTo>
                    <a:pt x="0" y="1582"/>
                  </a:lnTo>
                  <a:lnTo>
                    <a:pt x="80" y="1748"/>
                  </a:lnTo>
                  <a:lnTo>
                    <a:pt x="485" y="2117"/>
                  </a:lnTo>
                  <a:lnTo>
                    <a:pt x="584" y="2332"/>
                  </a:lnTo>
                  <a:lnTo>
                    <a:pt x="737" y="2467"/>
                  </a:lnTo>
                  <a:lnTo>
                    <a:pt x="781" y="2725"/>
                  </a:lnTo>
                  <a:lnTo>
                    <a:pt x="725" y="2848"/>
                  </a:lnTo>
                  <a:lnTo>
                    <a:pt x="682" y="3604"/>
                  </a:lnTo>
                  <a:lnTo>
                    <a:pt x="566" y="3856"/>
                  </a:lnTo>
                  <a:lnTo>
                    <a:pt x="728" y="3897"/>
                  </a:lnTo>
                  <a:lnTo>
                    <a:pt x="727" y="3918"/>
                  </a:lnTo>
                  <a:lnTo>
                    <a:pt x="714" y="3918"/>
                  </a:lnTo>
                  <a:lnTo>
                    <a:pt x="714" y="4173"/>
                  </a:lnTo>
                  <a:lnTo>
                    <a:pt x="724" y="4173"/>
                  </a:lnTo>
                  <a:lnTo>
                    <a:pt x="712" y="4472"/>
                  </a:lnTo>
                  <a:lnTo>
                    <a:pt x="781" y="4984"/>
                  </a:lnTo>
                  <a:lnTo>
                    <a:pt x="1090" y="6045"/>
                  </a:lnTo>
                  <a:lnTo>
                    <a:pt x="1255" y="6888"/>
                  </a:lnTo>
                  <a:lnTo>
                    <a:pt x="1298" y="7327"/>
                  </a:lnTo>
                  <a:lnTo>
                    <a:pt x="1338" y="7362"/>
                  </a:lnTo>
                  <a:cubicBezTo>
                    <a:pt x="1338" y="7362"/>
                    <a:pt x="1347" y="7446"/>
                    <a:pt x="1359" y="7526"/>
                  </a:cubicBezTo>
                  <a:lnTo>
                    <a:pt x="1301" y="7516"/>
                  </a:lnTo>
                  <a:cubicBezTo>
                    <a:pt x="1301" y="7516"/>
                    <a:pt x="1268" y="7632"/>
                    <a:pt x="1225" y="7669"/>
                  </a:cubicBezTo>
                  <a:cubicBezTo>
                    <a:pt x="1150" y="7731"/>
                    <a:pt x="1041" y="7742"/>
                    <a:pt x="944" y="7749"/>
                  </a:cubicBezTo>
                  <a:cubicBezTo>
                    <a:pt x="901" y="7751"/>
                    <a:pt x="854" y="7707"/>
                    <a:pt x="816" y="7729"/>
                  </a:cubicBezTo>
                  <a:cubicBezTo>
                    <a:pt x="785" y="7747"/>
                    <a:pt x="774" y="7795"/>
                    <a:pt x="777" y="7832"/>
                  </a:cubicBezTo>
                  <a:cubicBezTo>
                    <a:pt x="781" y="7877"/>
                    <a:pt x="849" y="7946"/>
                    <a:pt x="849" y="7946"/>
                  </a:cubicBezTo>
                  <a:cubicBezTo>
                    <a:pt x="849" y="7946"/>
                    <a:pt x="1379" y="7957"/>
                    <a:pt x="1394" y="7953"/>
                  </a:cubicBezTo>
                  <a:cubicBezTo>
                    <a:pt x="1409" y="7949"/>
                    <a:pt x="1777" y="7970"/>
                    <a:pt x="1777" y="7970"/>
                  </a:cubicBezTo>
                  <a:cubicBezTo>
                    <a:pt x="1777" y="7970"/>
                    <a:pt x="1911" y="7962"/>
                    <a:pt x="1965" y="7929"/>
                  </a:cubicBezTo>
                  <a:cubicBezTo>
                    <a:pt x="1993" y="7912"/>
                    <a:pt x="2001" y="7824"/>
                    <a:pt x="2007" y="7792"/>
                  </a:cubicBezTo>
                  <a:cubicBezTo>
                    <a:pt x="2009" y="7783"/>
                    <a:pt x="2008" y="7773"/>
                    <a:pt x="2007" y="7763"/>
                  </a:cubicBezTo>
                  <a:lnTo>
                    <a:pt x="2062" y="7777"/>
                  </a:lnTo>
                  <a:cubicBezTo>
                    <a:pt x="2067" y="7778"/>
                    <a:pt x="2077" y="7770"/>
                    <a:pt x="2090" y="7755"/>
                  </a:cubicBezTo>
                  <a:cubicBezTo>
                    <a:pt x="2137" y="7765"/>
                    <a:pt x="2189" y="7773"/>
                    <a:pt x="2224" y="7771"/>
                  </a:cubicBezTo>
                  <a:cubicBezTo>
                    <a:pt x="2273" y="7767"/>
                    <a:pt x="2327" y="7773"/>
                    <a:pt x="2370" y="7749"/>
                  </a:cubicBezTo>
                  <a:cubicBezTo>
                    <a:pt x="2398" y="7733"/>
                    <a:pt x="2424" y="7704"/>
                    <a:pt x="2431" y="7673"/>
                  </a:cubicBezTo>
                  <a:cubicBezTo>
                    <a:pt x="2439" y="7634"/>
                    <a:pt x="2407" y="7568"/>
                    <a:pt x="2400" y="7557"/>
                  </a:cubicBezTo>
                  <a:lnTo>
                    <a:pt x="2393" y="7555"/>
                  </a:lnTo>
                  <a:lnTo>
                    <a:pt x="2407" y="7553"/>
                  </a:lnTo>
                  <a:lnTo>
                    <a:pt x="2389" y="7462"/>
                  </a:lnTo>
                  <a:lnTo>
                    <a:pt x="2481" y="7201"/>
                  </a:lnTo>
                  <a:lnTo>
                    <a:pt x="2355" y="7110"/>
                  </a:lnTo>
                  <a:lnTo>
                    <a:pt x="2372" y="6762"/>
                  </a:lnTo>
                  <a:lnTo>
                    <a:pt x="2207" y="6258"/>
                  </a:lnTo>
                  <a:lnTo>
                    <a:pt x="2070" y="5956"/>
                  </a:lnTo>
                  <a:cubicBezTo>
                    <a:pt x="2017" y="5772"/>
                    <a:pt x="1960" y="5638"/>
                    <a:pt x="1909" y="5425"/>
                  </a:cubicBezTo>
                  <a:lnTo>
                    <a:pt x="1920" y="5228"/>
                  </a:lnTo>
                  <a:lnTo>
                    <a:pt x="2007" y="4411"/>
                  </a:lnTo>
                  <a:lnTo>
                    <a:pt x="1967" y="4173"/>
                  </a:lnTo>
                  <a:lnTo>
                    <a:pt x="1968" y="4173"/>
                  </a:lnTo>
                  <a:lnTo>
                    <a:pt x="1968" y="4133"/>
                  </a:lnTo>
                  <a:lnTo>
                    <a:pt x="1979" y="4133"/>
                  </a:lnTo>
                  <a:lnTo>
                    <a:pt x="1973" y="3936"/>
                  </a:lnTo>
                  <a:lnTo>
                    <a:pt x="1991" y="3813"/>
                  </a:lnTo>
                  <a:lnTo>
                    <a:pt x="2096" y="3826"/>
                  </a:lnTo>
                  <a:lnTo>
                    <a:pt x="2053" y="3764"/>
                  </a:lnTo>
                  <a:lnTo>
                    <a:pt x="2065" y="3678"/>
                  </a:lnTo>
                  <a:lnTo>
                    <a:pt x="1936" y="3469"/>
                  </a:lnTo>
                  <a:lnTo>
                    <a:pt x="1979" y="3408"/>
                  </a:lnTo>
                  <a:lnTo>
                    <a:pt x="2071" y="3174"/>
                  </a:lnTo>
                  <a:lnTo>
                    <a:pt x="2151" y="3058"/>
                  </a:lnTo>
                  <a:lnTo>
                    <a:pt x="2120" y="2984"/>
                  </a:lnTo>
                  <a:lnTo>
                    <a:pt x="2182" y="2615"/>
                  </a:lnTo>
                  <a:lnTo>
                    <a:pt x="2231" y="2603"/>
                  </a:lnTo>
                  <a:lnTo>
                    <a:pt x="2243" y="2418"/>
                  </a:lnTo>
                  <a:lnTo>
                    <a:pt x="2133" y="2129"/>
                  </a:lnTo>
                  <a:lnTo>
                    <a:pt x="2124" y="2137"/>
                  </a:lnTo>
                  <a:cubicBezTo>
                    <a:pt x="2090" y="2081"/>
                    <a:pt x="2020" y="1980"/>
                    <a:pt x="1953" y="1962"/>
                  </a:cubicBezTo>
                  <a:cubicBezTo>
                    <a:pt x="1845" y="1917"/>
                    <a:pt x="1560" y="1930"/>
                    <a:pt x="1606" y="1899"/>
                  </a:cubicBezTo>
                  <a:cubicBezTo>
                    <a:pt x="1781" y="1899"/>
                    <a:pt x="2044" y="1722"/>
                    <a:pt x="2044" y="1470"/>
                  </a:cubicBezTo>
                  <a:cubicBezTo>
                    <a:pt x="2044" y="1218"/>
                    <a:pt x="1788" y="900"/>
                    <a:pt x="1612" y="900"/>
                  </a:cubicBezTo>
                  <a:cubicBezTo>
                    <a:pt x="1556" y="900"/>
                    <a:pt x="1507" y="927"/>
                    <a:pt x="1467" y="971"/>
                  </a:cubicBezTo>
                  <a:cubicBezTo>
                    <a:pt x="1424" y="948"/>
                    <a:pt x="1506" y="885"/>
                    <a:pt x="1478" y="872"/>
                  </a:cubicBezTo>
                  <a:cubicBezTo>
                    <a:pt x="1471" y="869"/>
                    <a:pt x="1464" y="867"/>
                    <a:pt x="1457" y="867"/>
                  </a:cubicBezTo>
                  <a:close/>
                  <a:moveTo>
                    <a:pt x="802" y="3916"/>
                  </a:moveTo>
                  <a:lnTo>
                    <a:pt x="813" y="3918"/>
                  </a:lnTo>
                  <a:lnTo>
                    <a:pt x="802" y="3918"/>
                  </a:lnTo>
                  <a:lnTo>
                    <a:pt x="802" y="3916"/>
                  </a:ln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" name="Freeform 203">
              <a:extLst>
                <a:ext uri="{FF2B5EF4-FFF2-40B4-BE49-F238E27FC236}">
                  <a16:creationId xmlns:a16="http://schemas.microsoft.com/office/drawing/2014/main" id="{33CD4689-6BB4-4C92-9861-552751412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" y="2024"/>
              <a:ext cx="759" cy="2137"/>
            </a:xfrm>
            <a:custGeom>
              <a:avLst/>
              <a:gdLst>
                <a:gd name="T0" fmla="*/ 97 w 2779"/>
                <a:gd name="T1" fmla="*/ 172 h 7811"/>
                <a:gd name="T2" fmla="*/ 5 w 2779"/>
                <a:gd name="T3" fmla="*/ 196 h 7811"/>
                <a:gd name="T4" fmla="*/ 14 w 2779"/>
                <a:gd name="T5" fmla="*/ 577 h 7811"/>
                <a:gd name="T6" fmla="*/ 175 w 2779"/>
                <a:gd name="T7" fmla="*/ 1216 h 7811"/>
                <a:gd name="T8" fmla="*/ 519 w 2779"/>
                <a:gd name="T9" fmla="*/ 1797 h 7811"/>
                <a:gd name="T10" fmla="*/ 978 w 2779"/>
                <a:gd name="T11" fmla="*/ 2134 h 7811"/>
                <a:gd name="T12" fmla="*/ 879 w 2779"/>
                <a:gd name="T13" fmla="*/ 2994 h 7811"/>
                <a:gd name="T14" fmla="*/ 819 w 2779"/>
                <a:gd name="T15" fmla="*/ 4301 h 7811"/>
                <a:gd name="T16" fmla="*/ 1075 w 2779"/>
                <a:gd name="T17" fmla="*/ 5133 h 7811"/>
                <a:gd name="T18" fmla="*/ 1096 w 2779"/>
                <a:gd name="T19" fmla="*/ 6901 h 7811"/>
                <a:gd name="T20" fmla="*/ 1140 w 2779"/>
                <a:gd name="T21" fmla="*/ 7134 h 7811"/>
                <a:gd name="T22" fmla="*/ 1027 w 2779"/>
                <a:gd name="T23" fmla="*/ 7307 h 7811"/>
                <a:gd name="T24" fmla="*/ 590 w 2779"/>
                <a:gd name="T25" fmla="*/ 7516 h 7811"/>
                <a:gd name="T26" fmla="*/ 732 w 2779"/>
                <a:gd name="T27" fmla="*/ 7624 h 7811"/>
                <a:gd name="T28" fmla="*/ 1305 w 2779"/>
                <a:gd name="T29" fmla="*/ 7521 h 7811"/>
                <a:gd name="T30" fmla="*/ 1623 w 2779"/>
                <a:gd name="T31" fmla="*/ 7477 h 7811"/>
                <a:gd name="T32" fmla="*/ 1658 w 2779"/>
                <a:gd name="T33" fmla="*/ 7267 h 7811"/>
                <a:gd name="T34" fmla="*/ 2106 w 2779"/>
                <a:gd name="T35" fmla="*/ 7261 h 7811"/>
                <a:gd name="T36" fmla="*/ 2126 w 2779"/>
                <a:gd name="T37" fmla="*/ 7451 h 7811"/>
                <a:gd name="T38" fmla="*/ 1917 w 2779"/>
                <a:gd name="T39" fmla="*/ 7624 h 7811"/>
                <a:gd name="T40" fmla="*/ 1757 w 2779"/>
                <a:gd name="T41" fmla="*/ 7748 h 7811"/>
                <a:gd name="T42" fmla="*/ 2435 w 2779"/>
                <a:gd name="T43" fmla="*/ 7737 h 7811"/>
                <a:gd name="T44" fmla="*/ 2756 w 2779"/>
                <a:gd name="T45" fmla="*/ 7582 h 7811"/>
                <a:gd name="T46" fmla="*/ 2764 w 2779"/>
                <a:gd name="T47" fmla="*/ 7247 h 7811"/>
                <a:gd name="T48" fmla="*/ 2649 w 2779"/>
                <a:gd name="T49" fmla="*/ 6792 h 7811"/>
                <a:gd name="T50" fmla="*/ 2331 w 2779"/>
                <a:gd name="T51" fmla="*/ 5728 h 7811"/>
                <a:gd name="T52" fmla="*/ 2141 w 2779"/>
                <a:gd name="T53" fmla="*/ 4947 h 7811"/>
                <a:gd name="T54" fmla="*/ 2171 w 2779"/>
                <a:gd name="T55" fmla="*/ 4613 h 7811"/>
                <a:gd name="T56" fmla="*/ 2193 w 2779"/>
                <a:gd name="T57" fmla="*/ 4538 h 7811"/>
                <a:gd name="T58" fmla="*/ 2307 w 2779"/>
                <a:gd name="T59" fmla="*/ 4640 h 7811"/>
                <a:gd name="T60" fmla="*/ 2248 w 2779"/>
                <a:gd name="T61" fmla="*/ 4434 h 7811"/>
                <a:gd name="T62" fmla="*/ 2373 w 2779"/>
                <a:gd name="T63" fmla="*/ 4605 h 7811"/>
                <a:gd name="T64" fmla="*/ 2322 w 2779"/>
                <a:gd name="T65" fmla="*/ 4413 h 7811"/>
                <a:gd name="T66" fmla="*/ 2433 w 2779"/>
                <a:gd name="T67" fmla="*/ 4501 h 7811"/>
                <a:gd name="T68" fmla="*/ 2390 w 2779"/>
                <a:gd name="T69" fmla="*/ 4279 h 7811"/>
                <a:gd name="T70" fmla="*/ 2435 w 2779"/>
                <a:gd name="T71" fmla="*/ 3602 h 7811"/>
                <a:gd name="T72" fmla="*/ 2355 w 2779"/>
                <a:gd name="T73" fmla="*/ 2700 h 7811"/>
                <a:gd name="T74" fmla="*/ 2205 w 2779"/>
                <a:gd name="T75" fmla="*/ 2302 h 7811"/>
                <a:gd name="T76" fmla="*/ 2002 w 2779"/>
                <a:gd name="T77" fmla="*/ 1864 h 7811"/>
                <a:gd name="T78" fmla="*/ 1836 w 2779"/>
                <a:gd name="T79" fmla="*/ 1582 h 7811"/>
                <a:gd name="T80" fmla="*/ 1999 w 2779"/>
                <a:gd name="T81" fmla="*/ 1305 h 7811"/>
                <a:gd name="T82" fmla="*/ 1807 w 2779"/>
                <a:gd name="T83" fmla="*/ 757 h 7811"/>
                <a:gd name="T84" fmla="*/ 1345 w 2779"/>
                <a:gd name="T85" fmla="*/ 774 h 7811"/>
                <a:gd name="T86" fmla="*/ 1265 w 2779"/>
                <a:gd name="T87" fmla="*/ 928 h 7811"/>
                <a:gd name="T88" fmla="*/ 1182 w 2779"/>
                <a:gd name="T89" fmla="*/ 1124 h 7811"/>
                <a:gd name="T90" fmla="*/ 1158 w 2779"/>
                <a:gd name="T91" fmla="*/ 1369 h 7811"/>
                <a:gd name="T92" fmla="*/ 1222 w 2779"/>
                <a:gd name="T93" fmla="*/ 1667 h 7811"/>
                <a:gd name="T94" fmla="*/ 1163 w 2779"/>
                <a:gd name="T95" fmla="*/ 1683 h 7811"/>
                <a:gd name="T96" fmla="*/ 962 w 2779"/>
                <a:gd name="T97" fmla="*/ 1601 h 7811"/>
                <a:gd name="T98" fmla="*/ 741 w 2779"/>
                <a:gd name="T99" fmla="*/ 1333 h 7811"/>
                <a:gd name="T100" fmla="*/ 412 w 2779"/>
                <a:gd name="T101" fmla="*/ 776 h 7811"/>
                <a:gd name="T102" fmla="*/ 329 w 2779"/>
                <a:gd name="T103" fmla="*/ 516 h 7811"/>
                <a:gd name="T104" fmla="*/ 253 w 2779"/>
                <a:gd name="T105" fmla="*/ 345 h 7811"/>
                <a:gd name="T106" fmla="*/ 196 w 2779"/>
                <a:gd name="T107" fmla="*/ 33 h 7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79" h="7811">
                  <a:moveTo>
                    <a:pt x="135" y="0"/>
                  </a:moveTo>
                  <a:lnTo>
                    <a:pt x="118" y="40"/>
                  </a:lnTo>
                  <a:lnTo>
                    <a:pt x="121" y="92"/>
                  </a:lnTo>
                  <a:lnTo>
                    <a:pt x="111" y="144"/>
                  </a:lnTo>
                  <a:lnTo>
                    <a:pt x="97" y="172"/>
                  </a:lnTo>
                  <a:lnTo>
                    <a:pt x="83" y="222"/>
                  </a:lnTo>
                  <a:lnTo>
                    <a:pt x="68" y="274"/>
                  </a:lnTo>
                  <a:lnTo>
                    <a:pt x="45" y="210"/>
                  </a:lnTo>
                  <a:lnTo>
                    <a:pt x="33" y="196"/>
                  </a:lnTo>
                  <a:lnTo>
                    <a:pt x="5" y="196"/>
                  </a:lnTo>
                  <a:cubicBezTo>
                    <a:pt x="5" y="196"/>
                    <a:pt x="0" y="227"/>
                    <a:pt x="2" y="234"/>
                  </a:cubicBezTo>
                  <a:cubicBezTo>
                    <a:pt x="5" y="241"/>
                    <a:pt x="9" y="402"/>
                    <a:pt x="9" y="402"/>
                  </a:cubicBezTo>
                  <a:lnTo>
                    <a:pt x="2" y="438"/>
                  </a:lnTo>
                  <a:lnTo>
                    <a:pt x="16" y="452"/>
                  </a:lnTo>
                  <a:lnTo>
                    <a:pt x="14" y="577"/>
                  </a:lnTo>
                  <a:lnTo>
                    <a:pt x="19" y="613"/>
                  </a:lnTo>
                  <a:lnTo>
                    <a:pt x="54" y="729"/>
                  </a:lnTo>
                  <a:lnTo>
                    <a:pt x="71" y="843"/>
                  </a:lnTo>
                  <a:lnTo>
                    <a:pt x="74" y="939"/>
                  </a:lnTo>
                  <a:cubicBezTo>
                    <a:pt x="104" y="1036"/>
                    <a:pt x="175" y="1216"/>
                    <a:pt x="175" y="1216"/>
                  </a:cubicBezTo>
                  <a:lnTo>
                    <a:pt x="333" y="1526"/>
                  </a:lnTo>
                  <a:lnTo>
                    <a:pt x="336" y="1532"/>
                  </a:lnTo>
                  <a:lnTo>
                    <a:pt x="447" y="1712"/>
                  </a:lnTo>
                  <a:lnTo>
                    <a:pt x="502" y="1759"/>
                  </a:lnTo>
                  <a:lnTo>
                    <a:pt x="519" y="1797"/>
                  </a:lnTo>
                  <a:lnTo>
                    <a:pt x="720" y="1946"/>
                  </a:lnTo>
                  <a:lnTo>
                    <a:pt x="777" y="2008"/>
                  </a:lnTo>
                  <a:lnTo>
                    <a:pt x="895" y="2051"/>
                  </a:lnTo>
                  <a:lnTo>
                    <a:pt x="926" y="2103"/>
                  </a:lnTo>
                  <a:lnTo>
                    <a:pt x="978" y="2134"/>
                  </a:lnTo>
                  <a:lnTo>
                    <a:pt x="943" y="2269"/>
                  </a:lnTo>
                  <a:lnTo>
                    <a:pt x="938" y="2366"/>
                  </a:lnTo>
                  <a:lnTo>
                    <a:pt x="947" y="2650"/>
                  </a:lnTo>
                  <a:lnTo>
                    <a:pt x="966" y="2766"/>
                  </a:lnTo>
                  <a:lnTo>
                    <a:pt x="879" y="2994"/>
                  </a:lnTo>
                  <a:lnTo>
                    <a:pt x="734" y="3384"/>
                  </a:lnTo>
                  <a:lnTo>
                    <a:pt x="760" y="3399"/>
                  </a:lnTo>
                  <a:lnTo>
                    <a:pt x="877" y="3799"/>
                  </a:lnTo>
                  <a:lnTo>
                    <a:pt x="831" y="4119"/>
                  </a:lnTo>
                  <a:lnTo>
                    <a:pt x="819" y="4301"/>
                  </a:lnTo>
                  <a:lnTo>
                    <a:pt x="1061" y="4448"/>
                  </a:lnTo>
                  <a:lnTo>
                    <a:pt x="1067" y="4568"/>
                  </a:lnTo>
                  <a:lnTo>
                    <a:pt x="1050" y="4604"/>
                  </a:lnTo>
                  <a:lnTo>
                    <a:pt x="1050" y="4673"/>
                  </a:lnTo>
                  <a:lnTo>
                    <a:pt x="1075" y="5133"/>
                  </a:lnTo>
                  <a:lnTo>
                    <a:pt x="1058" y="5703"/>
                  </a:lnTo>
                  <a:lnTo>
                    <a:pt x="1048" y="5993"/>
                  </a:lnTo>
                  <a:lnTo>
                    <a:pt x="1038" y="6157"/>
                  </a:lnTo>
                  <a:lnTo>
                    <a:pt x="1121" y="6863"/>
                  </a:lnTo>
                  <a:lnTo>
                    <a:pt x="1096" y="6901"/>
                  </a:lnTo>
                  <a:lnTo>
                    <a:pt x="1069" y="6980"/>
                  </a:lnTo>
                  <a:lnTo>
                    <a:pt x="1056" y="7066"/>
                  </a:lnTo>
                  <a:lnTo>
                    <a:pt x="1092" y="7109"/>
                  </a:lnTo>
                  <a:lnTo>
                    <a:pt x="1138" y="7120"/>
                  </a:lnTo>
                  <a:lnTo>
                    <a:pt x="1140" y="7134"/>
                  </a:lnTo>
                  <a:lnTo>
                    <a:pt x="1112" y="7167"/>
                  </a:lnTo>
                  <a:lnTo>
                    <a:pt x="1079" y="7171"/>
                  </a:lnTo>
                  <a:lnTo>
                    <a:pt x="1052" y="7224"/>
                  </a:lnTo>
                  <a:lnTo>
                    <a:pt x="1017" y="7301"/>
                  </a:lnTo>
                  <a:lnTo>
                    <a:pt x="1027" y="7307"/>
                  </a:lnTo>
                  <a:lnTo>
                    <a:pt x="963" y="7382"/>
                  </a:lnTo>
                  <a:lnTo>
                    <a:pt x="913" y="7430"/>
                  </a:lnTo>
                  <a:cubicBezTo>
                    <a:pt x="913" y="7430"/>
                    <a:pt x="773" y="7464"/>
                    <a:pt x="765" y="7464"/>
                  </a:cubicBezTo>
                  <a:cubicBezTo>
                    <a:pt x="758" y="7464"/>
                    <a:pt x="645" y="7501"/>
                    <a:pt x="645" y="7501"/>
                  </a:cubicBezTo>
                  <a:lnTo>
                    <a:pt x="590" y="7516"/>
                  </a:lnTo>
                  <a:lnTo>
                    <a:pt x="582" y="7558"/>
                  </a:lnTo>
                  <a:lnTo>
                    <a:pt x="563" y="7556"/>
                  </a:lnTo>
                  <a:lnTo>
                    <a:pt x="563" y="7577"/>
                  </a:lnTo>
                  <a:lnTo>
                    <a:pt x="658" y="7598"/>
                  </a:lnTo>
                  <a:lnTo>
                    <a:pt x="732" y="7624"/>
                  </a:lnTo>
                  <a:lnTo>
                    <a:pt x="902" y="7645"/>
                  </a:lnTo>
                  <a:lnTo>
                    <a:pt x="1079" y="7632"/>
                  </a:lnTo>
                  <a:lnTo>
                    <a:pt x="1129" y="7595"/>
                  </a:lnTo>
                  <a:lnTo>
                    <a:pt x="1255" y="7535"/>
                  </a:lnTo>
                  <a:lnTo>
                    <a:pt x="1305" y="7521"/>
                  </a:lnTo>
                  <a:lnTo>
                    <a:pt x="1323" y="7611"/>
                  </a:lnTo>
                  <a:lnTo>
                    <a:pt x="1452" y="7616"/>
                  </a:lnTo>
                  <a:lnTo>
                    <a:pt x="1544" y="7614"/>
                  </a:lnTo>
                  <a:lnTo>
                    <a:pt x="1581" y="7556"/>
                  </a:lnTo>
                  <a:lnTo>
                    <a:pt x="1623" y="7477"/>
                  </a:lnTo>
                  <a:lnTo>
                    <a:pt x="1629" y="7444"/>
                  </a:lnTo>
                  <a:lnTo>
                    <a:pt x="1652" y="7444"/>
                  </a:lnTo>
                  <a:lnTo>
                    <a:pt x="1650" y="7323"/>
                  </a:lnTo>
                  <a:lnTo>
                    <a:pt x="1640" y="7297"/>
                  </a:lnTo>
                  <a:lnTo>
                    <a:pt x="1658" y="7267"/>
                  </a:lnTo>
                  <a:lnTo>
                    <a:pt x="1731" y="6992"/>
                  </a:lnTo>
                  <a:lnTo>
                    <a:pt x="1777" y="6568"/>
                  </a:lnTo>
                  <a:lnTo>
                    <a:pt x="1883" y="6836"/>
                  </a:lnTo>
                  <a:lnTo>
                    <a:pt x="2085" y="7224"/>
                  </a:lnTo>
                  <a:lnTo>
                    <a:pt x="2106" y="7261"/>
                  </a:lnTo>
                  <a:lnTo>
                    <a:pt x="2224" y="7272"/>
                  </a:lnTo>
                  <a:lnTo>
                    <a:pt x="2202" y="7313"/>
                  </a:lnTo>
                  <a:lnTo>
                    <a:pt x="2170" y="7326"/>
                  </a:lnTo>
                  <a:lnTo>
                    <a:pt x="2126" y="7423"/>
                  </a:lnTo>
                  <a:lnTo>
                    <a:pt x="2126" y="7451"/>
                  </a:lnTo>
                  <a:lnTo>
                    <a:pt x="2254" y="7505"/>
                  </a:lnTo>
                  <a:lnTo>
                    <a:pt x="2151" y="7462"/>
                  </a:lnTo>
                  <a:cubicBezTo>
                    <a:pt x="2137" y="7484"/>
                    <a:pt x="2118" y="7510"/>
                    <a:pt x="2112" y="7511"/>
                  </a:cubicBezTo>
                  <a:cubicBezTo>
                    <a:pt x="2101" y="7514"/>
                    <a:pt x="2014" y="7558"/>
                    <a:pt x="2014" y="7558"/>
                  </a:cubicBezTo>
                  <a:lnTo>
                    <a:pt x="1917" y="7624"/>
                  </a:lnTo>
                  <a:lnTo>
                    <a:pt x="1789" y="7637"/>
                  </a:lnTo>
                  <a:lnTo>
                    <a:pt x="1754" y="7669"/>
                  </a:lnTo>
                  <a:lnTo>
                    <a:pt x="1723" y="7706"/>
                  </a:lnTo>
                  <a:lnTo>
                    <a:pt x="1699" y="7727"/>
                  </a:lnTo>
                  <a:lnTo>
                    <a:pt x="1757" y="7748"/>
                  </a:lnTo>
                  <a:lnTo>
                    <a:pt x="1910" y="7803"/>
                  </a:lnTo>
                  <a:lnTo>
                    <a:pt x="2096" y="7805"/>
                  </a:lnTo>
                  <a:lnTo>
                    <a:pt x="2283" y="7811"/>
                  </a:lnTo>
                  <a:lnTo>
                    <a:pt x="2370" y="7774"/>
                  </a:lnTo>
                  <a:lnTo>
                    <a:pt x="2435" y="7737"/>
                  </a:lnTo>
                  <a:lnTo>
                    <a:pt x="2467" y="7756"/>
                  </a:lnTo>
                  <a:lnTo>
                    <a:pt x="2553" y="7766"/>
                  </a:lnTo>
                  <a:lnTo>
                    <a:pt x="2656" y="7734"/>
                  </a:lnTo>
                  <a:lnTo>
                    <a:pt x="2701" y="7687"/>
                  </a:lnTo>
                  <a:lnTo>
                    <a:pt x="2756" y="7582"/>
                  </a:lnTo>
                  <a:lnTo>
                    <a:pt x="2752" y="7480"/>
                  </a:lnTo>
                  <a:lnTo>
                    <a:pt x="2779" y="7471"/>
                  </a:lnTo>
                  <a:lnTo>
                    <a:pt x="2774" y="7321"/>
                  </a:lnTo>
                  <a:lnTo>
                    <a:pt x="2766" y="7317"/>
                  </a:lnTo>
                  <a:lnTo>
                    <a:pt x="2764" y="7247"/>
                  </a:lnTo>
                  <a:lnTo>
                    <a:pt x="2756" y="7159"/>
                  </a:lnTo>
                  <a:cubicBezTo>
                    <a:pt x="2756" y="7159"/>
                    <a:pt x="2706" y="7028"/>
                    <a:pt x="2703" y="7021"/>
                  </a:cubicBezTo>
                  <a:cubicBezTo>
                    <a:pt x="2699" y="7013"/>
                    <a:pt x="2664" y="6970"/>
                    <a:pt x="2664" y="6970"/>
                  </a:cubicBezTo>
                  <a:cubicBezTo>
                    <a:pt x="2664" y="6970"/>
                    <a:pt x="2654" y="6899"/>
                    <a:pt x="2657" y="6894"/>
                  </a:cubicBezTo>
                  <a:cubicBezTo>
                    <a:pt x="2658" y="6888"/>
                    <a:pt x="2649" y="6792"/>
                    <a:pt x="2649" y="6792"/>
                  </a:cubicBezTo>
                  <a:lnTo>
                    <a:pt x="2579" y="6613"/>
                  </a:lnTo>
                  <a:lnTo>
                    <a:pt x="2508" y="6311"/>
                  </a:lnTo>
                  <a:lnTo>
                    <a:pt x="2451" y="5972"/>
                  </a:lnTo>
                  <a:lnTo>
                    <a:pt x="2372" y="5824"/>
                  </a:lnTo>
                  <a:lnTo>
                    <a:pt x="2331" y="5728"/>
                  </a:lnTo>
                  <a:lnTo>
                    <a:pt x="2228" y="5589"/>
                  </a:lnTo>
                  <a:lnTo>
                    <a:pt x="2216" y="5526"/>
                  </a:lnTo>
                  <a:lnTo>
                    <a:pt x="2187" y="5276"/>
                  </a:lnTo>
                  <a:lnTo>
                    <a:pt x="2135" y="5033"/>
                  </a:lnTo>
                  <a:lnTo>
                    <a:pt x="2141" y="4947"/>
                  </a:lnTo>
                  <a:lnTo>
                    <a:pt x="2108" y="4774"/>
                  </a:lnTo>
                  <a:lnTo>
                    <a:pt x="2120" y="4718"/>
                  </a:lnTo>
                  <a:lnTo>
                    <a:pt x="2147" y="4594"/>
                  </a:lnTo>
                  <a:lnTo>
                    <a:pt x="2148" y="4576"/>
                  </a:lnTo>
                  <a:lnTo>
                    <a:pt x="2171" y="4613"/>
                  </a:lnTo>
                  <a:lnTo>
                    <a:pt x="2212" y="4668"/>
                  </a:lnTo>
                  <a:lnTo>
                    <a:pt x="2232" y="4662"/>
                  </a:lnTo>
                  <a:lnTo>
                    <a:pt x="2242" y="4646"/>
                  </a:lnTo>
                  <a:lnTo>
                    <a:pt x="2213" y="4599"/>
                  </a:lnTo>
                  <a:lnTo>
                    <a:pt x="2193" y="4538"/>
                  </a:lnTo>
                  <a:lnTo>
                    <a:pt x="2191" y="4490"/>
                  </a:lnTo>
                  <a:lnTo>
                    <a:pt x="2201" y="4501"/>
                  </a:lnTo>
                  <a:lnTo>
                    <a:pt x="2234" y="4572"/>
                  </a:lnTo>
                  <a:cubicBezTo>
                    <a:pt x="2234" y="4572"/>
                    <a:pt x="2257" y="4612"/>
                    <a:pt x="2260" y="4615"/>
                  </a:cubicBezTo>
                  <a:cubicBezTo>
                    <a:pt x="2263" y="4619"/>
                    <a:pt x="2297" y="4643"/>
                    <a:pt x="2307" y="4640"/>
                  </a:cubicBezTo>
                  <a:cubicBezTo>
                    <a:pt x="2317" y="4637"/>
                    <a:pt x="2330" y="4634"/>
                    <a:pt x="2330" y="4634"/>
                  </a:cubicBezTo>
                  <a:lnTo>
                    <a:pt x="2320" y="4600"/>
                  </a:lnTo>
                  <a:lnTo>
                    <a:pt x="2276" y="4540"/>
                  </a:lnTo>
                  <a:lnTo>
                    <a:pt x="2244" y="4453"/>
                  </a:lnTo>
                  <a:cubicBezTo>
                    <a:pt x="2244" y="4453"/>
                    <a:pt x="2243" y="4442"/>
                    <a:pt x="2248" y="4434"/>
                  </a:cubicBezTo>
                  <a:cubicBezTo>
                    <a:pt x="2254" y="4426"/>
                    <a:pt x="2267" y="4425"/>
                    <a:pt x="2267" y="4425"/>
                  </a:cubicBezTo>
                  <a:lnTo>
                    <a:pt x="2270" y="4444"/>
                  </a:lnTo>
                  <a:lnTo>
                    <a:pt x="2292" y="4513"/>
                  </a:lnTo>
                  <a:cubicBezTo>
                    <a:pt x="2292" y="4513"/>
                    <a:pt x="2342" y="4587"/>
                    <a:pt x="2346" y="4589"/>
                  </a:cubicBezTo>
                  <a:cubicBezTo>
                    <a:pt x="2350" y="4591"/>
                    <a:pt x="2373" y="4605"/>
                    <a:pt x="2373" y="4605"/>
                  </a:cubicBezTo>
                  <a:cubicBezTo>
                    <a:pt x="2373" y="4605"/>
                    <a:pt x="2392" y="4592"/>
                    <a:pt x="2394" y="4589"/>
                  </a:cubicBezTo>
                  <a:cubicBezTo>
                    <a:pt x="2396" y="4586"/>
                    <a:pt x="2403" y="4575"/>
                    <a:pt x="2403" y="4575"/>
                  </a:cubicBezTo>
                  <a:lnTo>
                    <a:pt x="2386" y="4555"/>
                  </a:lnTo>
                  <a:lnTo>
                    <a:pt x="2351" y="4494"/>
                  </a:lnTo>
                  <a:cubicBezTo>
                    <a:pt x="2351" y="4494"/>
                    <a:pt x="2324" y="4416"/>
                    <a:pt x="2322" y="4413"/>
                  </a:cubicBezTo>
                  <a:cubicBezTo>
                    <a:pt x="2320" y="4410"/>
                    <a:pt x="2324" y="4399"/>
                    <a:pt x="2324" y="4399"/>
                  </a:cubicBezTo>
                  <a:lnTo>
                    <a:pt x="2343" y="4393"/>
                  </a:lnTo>
                  <a:lnTo>
                    <a:pt x="2368" y="4431"/>
                  </a:lnTo>
                  <a:cubicBezTo>
                    <a:pt x="2368" y="4431"/>
                    <a:pt x="2408" y="4490"/>
                    <a:pt x="2411" y="4494"/>
                  </a:cubicBezTo>
                  <a:cubicBezTo>
                    <a:pt x="2414" y="4498"/>
                    <a:pt x="2429" y="4501"/>
                    <a:pt x="2433" y="4501"/>
                  </a:cubicBezTo>
                  <a:cubicBezTo>
                    <a:pt x="2437" y="4501"/>
                    <a:pt x="2444" y="4492"/>
                    <a:pt x="2444" y="4489"/>
                  </a:cubicBezTo>
                  <a:cubicBezTo>
                    <a:pt x="2444" y="4486"/>
                    <a:pt x="2445" y="4455"/>
                    <a:pt x="2444" y="4452"/>
                  </a:cubicBezTo>
                  <a:cubicBezTo>
                    <a:pt x="2443" y="4449"/>
                    <a:pt x="2413" y="4387"/>
                    <a:pt x="2413" y="4387"/>
                  </a:cubicBezTo>
                  <a:lnTo>
                    <a:pt x="2394" y="4337"/>
                  </a:lnTo>
                  <a:cubicBezTo>
                    <a:pt x="2394" y="4337"/>
                    <a:pt x="2391" y="4300"/>
                    <a:pt x="2390" y="4279"/>
                  </a:cubicBezTo>
                  <a:lnTo>
                    <a:pt x="2392" y="4280"/>
                  </a:lnTo>
                  <a:lnTo>
                    <a:pt x="2416" y="4275"/>
                  </a:lnTo>
                  <a:lnTo>
                    <a:pt x="2428" y="4078"/>
                  </a:lnTo>
                  <a:lnTo>
                    <a:pt x="2414" y="3870"/>
                  </a:lnTo>
                  <a:lnTo>
                    <a:pt x="2435" y="3602"/>
                  </a:lnTo>
                  <a:lnTo>
                    <a:pt x="2433" y="3349"/>
                  </a:lnTo>
                  <a:lnTo>
                    <a:pt x="2435" y="3226"/>
                  </a:lnTo>
                  <a:lnTo>
                    <a:pt x="2461" y="3162"/>
                  </a:lnTo>
                  <a:lnTo>
                    <a:pt x="2418" y="2935"/>
                  </a:lnTo>
                  <a:lnTo>
                    <a:pt x="2355" y="2700"/>
                  </a:lnTo>
                  <a:lnTo>
                    <a:pt x="2307" y="2643"/>
                  </a:lnTo>
                  <a:lnTo>
                    <a:pt x="2271" y="2598"/>
                  </a:lnTo>
                  <a:lnTo>
                    <a:pt x="2276" y="2477"/>
                  </a:lnTo>
                  <a:lnTo>
                    <a:pt x="2253" y="2366"/>
                  </a:lnTo>
                  <a:lnTo>
                    <a:pt x="2205" y="2302"/>
                  </a:lnTo>
                  <a:lnTo>
                    <a:pt x="2165" y="2181"/>
                  </a:lnTo>
                  <a:lnTo>
                    <a:pt x="2115" y="2086"/>
                  </a:lnTo>
                  <a:lnTo>
                    <a:pt x="2056" y="2001"/>
                  </a:lnTo>
                  <a:lnTo>
                    <a:pt x="2025" y="1890"/>
                  </a:lnTo>
                  <a:lnTo>
                    <a:pt x="2002" y="1864"/>
                  </a:lnTo>
                  <a:lnTo>
                    <a:pt x="1973" y="1785"/>
                  </a:lnTo>
                  <a:lnTo>
                    <a:pt x="1906" y="1733"/>
                  </a:lnTo>
                  <a:lnTo>
                    <a:pt x="1900" y="1677"/>
                  </a:lnTo>
                  <a:lnTo>
                    <a:pt x="1859" y="1622"/>
                  </a:lnTo>
                  <a:lnTo>
                    <a:pt x="1836" y="1582"/>
                  </a:lnTo>
                  <a:lnTo>
                    <a:pt x="1815" y="1574"/>
                  </a:lnTo>
                  <a:lnTo>
                    <a:pt x="1825" y="1555"/>
                  </a:lnTo>
                  <a:lnTo>
                    <a:pt x="1850" y="1544"/>
                  </a:lnTo>
                  <a:lnTo>
                    <a:pt x="1928" y="1468"/>
                  </a:lnTo>
                  <a:lnTo>
                    <a:pt x="1999" y="1305"/>
                  </a:lnTo>
                  <a:lnTo>
                    <a:pt x="2013" y="1184"/>
                  </a:lnTo>
                  <a:lnTo>
                    <a:pt x="1999" y="1004"/>
                  </a:lnTo>
                  <a:lnTo>
                    <a:pt x="1966" y="900"/>
                  </a:lnTo>
                  <a:lnTo>
                    <a:pt x="1885" y="791"/>
                  </a:lnTo>
                  <a:lnTo>
                    <a:pt x="1807" y="757"/>
                  </a:lnTo>
                  <a:lnTo>
                    <a:pt x="1696" y="741"/>
                  </a:lnTo>
                  <a:lnTo>
                    <a:pt x="1623" y="717"/>
                  </a:lnTo>
                  <a:lnTo>
                    <a:pt x="1547" y="729"/>
                  </a:lnTo>
                  <a:lnTo>
                    <a:pt x="1412" y="764"/>
                  </a:lnTo>
                  <a:lnTo>
                    <a:pt x="1345" y="774"/>
                  </a:lnTo>
                  <a:cubicBezTo>
                    <a:pt x="1345" y="774"/>
                    <a:pt x="1319" y="762"/>
                    <a:pt x="1310" y="767"/>
                  </a:cubicBezTo>
                  <a:cubicBezTo>
                    <a:pt x="1300" y="772"/>
                    <a:pt x="1248" y="810"/>
                    <a:pt x="1248" y="810"/>
                  </a:cubicBezTo>
                  <a:cubicBezTo>
                    <a:pt x="1248" y="810"/>
                    <a:pt x="1236" y="850"/>
                    <a:pt x="1239" y="857"/>
                  </a:cubicBezTo>
                  <a:cubicBezTo>
                    <a:pt x="1241" y="864"/>
                    <a:pt x="1241" y="900"/>
                    <a:pt x="1241" y="900"/>
                  </a:cubicBezTo>
                  <a:lnTo>
                    <a:pt x="1265" y="928"/>
                  </a:lnTo>
                  <a:lnTo>
                    <a:pt x="1269" y="956"/>
                  </a:lnTo>
                  <a:lnTo>
                    <a:pt x="1265" y="978"/>
                  </a:lnTo>
                  <a:lnTo>
                    <a:pt x="1234" y="1039"/>
                  </a:lnTo>
                  <a:lnTo>
                    <a:pt x="1189" y="1094"/>
                  </a:lnTo>
                  <a:lnTo>
                    <a:pt x="1182" y="1124"/>
                  </a:lnTo>
                  <a:lnTo>
                    <a:pt x="1191" y="1177"/>
                  </a:lnTo>
                  <a:lnTo>
                    <a:pt x="1194" y="1234"/>
                  </a:lnTo>
                  <a:lnTo>
                    <a:pt x="1184" y="1250"/>
                  </a:lnTo>
                  <a:lnTo>
                    <a:pt x="1156" y="1300"/>
                  </a:lnTo>
                  <a:lnTo>
                    <a:pt x="1158" y="1369"/>
                  </a:lnTo>
                  <a:lnTo>
                    <a:pt x="1172" y="1418"/>
                  </a:lnTo>
                  <a:lnTo>
                    <a:pt x="1198" y="1539"/>
                  </a:lnTo>
                  <a:lnTo>
                    <a:pt x="1187" y="1610"/>
                  </a:lnTo>
                  <a:lnTo>
                    <a:pt x="1189" y="1641"/>
                  </a:lnTo>
                  <a:lnTo>
                    <a:pt x="1222" y="1667"/>
                  </a:lnTo>
                  <a:cubicBezTo>
                    <a:pt x="1222" y="1667"/>
                    <a:pt x="1229" y="1666"/>
                    <a:pt x="1241" y="1664"/>
                  </a:cubicBezTo>
                  <a:lnTo>
                    <a:pt x="1260" y="1622"/>
                  </a:lnTo>
                  <a:lnTo>
                    <a:pt x="1236" y="1674"/>
                  </a:lnTo>
                  <a:lnTo>
                    <a:pt x="1198" y="1667"/>
                  </a:lnTo>
                  <a:lnTo>
                    <a:pt x="1163" y="1683"/>
                  </a:lnTo>
                  <a:lnTo>
                    <a:pt x="1108" y="1660"/>
                  </a:lnTo>
                  <a:cubicBezTo>
                    <a:pt x="1108" y="1660"/>
                    <a:pt x="1104" y="1629"/>
                    <a:pt x="1097" y="1627"/>
                  </a:cubicBezTo>
                  <a:cubicBezTo>
                    <a:pt x="1089" y="1624"/>
                    <a:pt x="1052" y="1620"/>
                    <a:pt x="1042" y="1624"/>
                  </a:cubicBezTo>
                  <a:cubicBezTo>
                    <a:pt x="1033" y="1629"/>
                    <a:pt x="990" y="1646"/>
                    <a:pt x="990" y="1646"/>
                  </a:cubicBezTo>
                  <a:lnTo>
                    <a:pt x="962" y="1601"/>
                  </a:lnTo>
                  <a:lnTo>
                    <a:pt x="902" y="1558"/>
                  </a:lnTo>
                  <a:cubicBezTo>
                    <a:pt x="902" y="1558"/>
                    <a:pt x="864" y="1541"/>
                    <a:pt x="864" y="1549"/>
                  </a:cubicBezTo>
                  <a:cubicBezTo>
                    <a:pt x="864" y="1556"/>
                    <a:pt x="860" y="1523"/>
                    <a:pt x="860" y="1523"/>
                  </a:cubicBezTo>
                  <a:cubicBezTo>
                    <a:pt x="860" y="1523"/>
                    <a:pt x="855" y="1480"/>
                    <a:pt x="848" y="1473"/>
                  </a:cubicBezTo>
                  <a:cubicBezTo>
                    <a:pt x="841" y="1466"/>
                    <a:pt x="741" y="1333"/>
                    <a:pt x="741" y="1333"/>
                  </a:cubicBezTo>
                  <a:lnTo>
                    <a:pt x="507" y="968"/>
                  </a:lnTo>
                  <a:lnTo>
                    <a:pt x="485" y="949"/>
                  </a:lnTo>
                  <a:lnTo>
                    <a:pt x="485" y="949"/>
                  </a:lnTo>
                  <a:lnTo>
                    <a:pt x="445" y="862"/>
                  </a:lnTo>
                  <a:lnTo>
                    <a:pt x="412" y="776"/>
                  </a:lnTo>
                  <a:lnTo>
                    <a:pt x="399" y="769"/>
                  </a:lnTo>
                  <a:lnTo>
                    <a:pt x="391" y="710"/>
                  </a:lnTo>
                  <a:lnTo>
                    <a:pt x="362" y="679"/>
                  </a:lnTo>
                  <a:lnTo>
                    <a:pt x="341" y="618"/>
                  </a:lnTo>
                  <a:lnTo>
                    <a:pt x="329" y="516"/>
                  </a:lnTo>
                  <a:cubicBezTo>
                    <a:pt x="329" y="516"/>
                    <a:pt x="310" y="442"/>
                    <a:pt x="303" y="435"/>
                  </a:cubicBezTo>
                  <a:cubicBezTo>
                    <a:pt x="296" y="428"/>
                    <a:pt x="282" y="376"/>
                    <a:pt x="282" y="376"/>
                  </a:cubicBezTo>
                  <a:lnTo>
                    <a:pt x="303" y="333"/>
                  </a:lnTo>
                  <a:lnTo>
                    <a:pt x="284" y="324"/>
                  </a:lnTo>
                  <a:lnTo>
                    <a:pt x="253" y="345"/>
                  </a:lnTo>
                  <a:lnTo>
                    <a:pt x="244" y="367"/>
                  </a:lnTo>
                  <a:lnTo>
                    <a:pt x="216" y="303"/>
                  </a:lnTo>
                  <a:lnTo>
                    <a:pt x="201" y="163"/>
                  </a:lnTo>
                  <a:lnTo>
                    <a:pt x="216" y="78"/>
                  </a:lnTo>
                  <a:lnTo>
                    <a:pt x="196" y="33"/>
                  </a:lnTo>
                  <a:lnTo>
                    <a:pt x="185" y="42"/>
                  </a:lnTo>
                  <a:lnTo>
                    <a:pt x="170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7" name="Freeform 204">
              <a:extLst>
                <a:ext uri="{FF2B5EF4-FFF2-40B4-BE49-F238E27FC236}">
                  <a16:creationId xmlns:a16="http://schemas.microsoft.com/office/drawing/2014/main" id="{A3F586C3-EEE8-4D01-BEF5-57AE8556D9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" y="973"/>
              <a:ext cx="1081" cy="1260"/>
            </a:xfrm>
            <a:custGeom>
              <a:avLst/>
              <a:gdLst>
                <a:gd name="T0" fmla="*/ 3953 w 3959"/>
                <a:gd name="T1" fmla="*/ 387 h 4602"/>
                <a:gd name="T2" fmla="*/ 3479 w 3959"/>
                <a:gd name="T3" fmla="*/ 2123 h 4602"/>
                <a:gd name="T4" fmla="*/ 2185 w 3959"/>
                <a:gd name="T5" fmla="*/ 1872 h 4602"/>
                <a:gd name="T6" fmla="*/ 2182 w 3959"/>
                <a:gd name="T7" fmla="*/ 1874 h 4602"/>
                <a:gd name="T8" fmla="*/ 336 w 3959"/>
                <a:gd name="T9" fmla="*/ 1630 h 4602"/>
                <a:gd name="T10" fmla="*/ 344 w 3959"/>
                <a:gd name="T11" fmla="*/ 0 h 4602"/>
                <a:gd name="T12" fmla="*/ 2102 w 3959"/>
                <a:gd name="T13" fmla="*/ 254 h 4602"/>
                <a:gd name="T14" fmla="*/ 3953 w 3959"/>
                <a:gd name="T15" fmla="*/ 387 h 4602"/>
                <a:gd name="T16" fmla="*/ 3959 w 3959"/>
                <a:gd name="T17" fmla="*/ 415 h 4602"/>
                <a:gd name="T18" fmla="*/ 2947 w 3959"/>
                <a:gd name="T19" fmla="*/ 4602 h 4602"/>
                <a:gd name="T20" fmla="*/ 2802 w 3959"/>
                <a:gd name="T21" fmla="*/ 4562 h 4602"/>
                <a:gd name="T22" fmla="*/ 3959 w 3959"/>
                <a:gd name="T23" fmla="*/ 415 h 4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59" h="4602">
                  <a:moveTo>
                    <a:pt x="3953" y="387"/>
                  </a:moveTo>
                  <a:lnTo>
                    <a:pt x="3479" y="2123"/>
                  </a:lnTo>
                  <a:cubicBezTo>
                    <a:pt x="2827" y="2179"/>
                    <a:pt x="2532" y="2095"/>
                    <a:pt x="2185" y="1872"/>
                  </a:cubicBezTo>
                  <a:cubicBezTo>
                    <a:pt x="2184" y="1873"/>
                    <a:pt x="2183" y="1873"/>
                    <a:pt x="2182" y="1874"/>
                  </a:cubicBezTo>
                  <a:cubicBezTo>
                    <a:pt x="1310" y="1950"/>
                    <a:pt x="771" y="1780"/>
                    <a:pt x="336" y="1630"/>
                  </a:cubicBezTo>
                  <a:cubicBezTo>
                    <a:pt x="0" y="485"/>
                    <a:pt x="897" y="572"/>
                    <a:pt x="344" y="0"/>
                  </a:cubicBezTo>
                  <a:lnTo>
                    <a:pt x="2102" y="254"/>
                  </a:lnTo>
                  <a:cubicBezTo>
                    <a:pt x="2295" y="117"/>
                    <a:pt x="3498" y="251"/>
                    <a:pt x="3953" y="387"/>
                  </a:cubicBezTo>
                  <a:close/>
                  <a:moveTo>
                    <a:pt x="3959" y="415"/>
                  </a:moveTo>
                  <a:lnTo>
                    <a:pt x="2947" y="4602"/>
                  </a:lnTo>
                  <a:lnTo>
                    <a:pt x="2802" y="4562"/>
                  </a:lnTo>
                  <a:lnTo>
                    <a:pt x="3959" y="415"/>
                  </a:ln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8" name="Freeform 205">
              <a:extLst>
                <a:ext uri="{FF2B5EF4-FFF2-40B4-BE49-F238E27FC236}">
                  <a16:creationId xmlns:a16="http://schemas.microsoft.com/office/drawing/2014/main" id="{A2BBA9CE-B1DC-44C9-A6FE-029961F8B9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9" y="2063"/>
              <a:ext cx="944" cy="2053"/>
            </a:xfrm>
            <a:custGeom>
              <a:avLst/>
              <a:gdLst>
                <a:gd name="T0" fmla="*/ 2983 w 3458"/>
                <a:gd name="T1" fmla="*/ 1443 h 7505"/>
                <a:gd name="T2" fmla="*/ 2352 w 3458"/>
                <a:gd name="T3" fmla="*/ 1163 h 7505"/>
                <a:gd name="T4" fmla="*/ 1659 w 3458"/>
                <a:gd name="T5" fmla="*/ 1254 h 7505"/>
                <a:gd name="T6" fmla="*/ 549 w 3458"/>
                <a:gd name="T7" fmla="*/ 866 h 7505"/>
                <a:gd name="T8" fmla="*/ 482 w 3458"/>
                <a:gd name="T9" fmla="*/ 35 h 7505"/>
                <a:gd name="T10" fmla="*/ 395 w 3458"/>
                <a:gd name="T11" fmla="*/ 1852 h 7505"/>
                <a:gd name="T12" fmla="*/ 1083 w 3458"/>
                <a:gd name="T13" fmla="*/ 3842 h 7505"/>
                <a:gd name="T14" fmla="*/ 1081 w 3458"/>
                <a:gd name="T15" fmla="*/ 5554 h 7505"/>
                <a:gd name="T16" fmla="*/ 1125 w 3458"/>
                <a:gd name="T17" fmla="*/ 7177 h 7505"/>
                <a:gd name="T18" fmla="*/ 1755 w 3458"/>
                <a:gd name="T19" fmla="*/ 6823 h 7505"/>
                <a:gd name="T20" fmla="*/ 1799 w 3458"/>
                <a:gd name="T21" fmla="*/ 4843 h 7505"/>
                <a:gd name="T22" fmla="*/ 2179 w 3458"/>
                <a:gd name="T23" fmla="*/ 5797 h 7505"/>
                <a:gd name="T24" fmla="*/ 2556 w 3458"/>
                <a:gd name="T25" fmla="*/ 7340 h 7505"/>
                <a:gd name="T26" fmla="*/ 2760 w 3458"/>
                <a:gd name="T27" fmla="*/ 6293 h 7505"/>
                <a:gd name="T28" fmla="*/ 2616 w 3458"/>
                <a:gd name="T29" fmla="*/ 4066 h 7505"/>
                <a:gd name="T30" fmla="*/ 2521 w 3458"/>
                <a:gd name="T31" fmla="*/ 2458 h 7505"/>
                <a:gd name="T32" fmla="*/ 3399 w 3458"/>
                <a:gd name="T33" fmla="*/ 1667 h 7505"/>
                <a:gd name="T34" fmla="*/ 3226 w 3458"/>
                <a:gd name="T35" fmla="*/ 37 h 7505"/>
                <a:gd name="T36" fmla="*/ 736 w 3458"/>
                <a:gd name="T37" fmla="*/ 327 h 7505"/>
                <a:gd name="T38" fmla="*/ 2016 w 3458"/>
                <a:gd name="T39" fmla="*/ 643 h 7505"/>
                <a:gd name="T40" fmla="*/ 1955 w 3458"/>
                <a:gd name="T41" fmla="*/ 895 h 7505"/>
                <a:gd name="T42" fmla="*/ 2027 w 3458"/>
                <a:gd name="T43" fmla="*/ 1000 h 7505"/>
                <a:gd name="T44" fmla="*/ 2067 w 3458"/>
                <a:gd name="T45" fmla="*/ 1075 h 7505"/>
                <a:gd name="T46" fmla="*/ 1659 w 3458"/>
                <a:gd name="T47" fmla="*/ 1092 h 7505"/>
                <a:gd name="T48" fmla="*/ 3415 w 3458"/>
                <a:gd name="T49" fmla="*/ 1445 h 7505"/>
                <a:gd name="T50" fmla="*/ 2281 w 3458"/>
                <a:gd name="T51" fmla="*/ 1290 h 7505"/>
                <a:gd name="T52" fmla="*/ 1818 w 3458"/>
                <a:gd name="T53" fmla="*/ 1447 h 7505"/>
                <a:gd name="T54" fmla="*/ 2250 w 3458"/>
                <a:gd name="T55" fmla="*/ 1677 h 7505"/>
                <a:gd name="T56" fmla="*/ 2546 w 3458"/>
                <a:gd name="T57" fmla="*/ 1997 h 7505"/>
                <a:gd name="T58" fmla="*/ 2650 w 3458"/>
                <a:gd name="T59" fmla="*/ 2071 h 7505"/>
                <a:gd name="T60" fmla="*/ 2544 w 3458"/>
                <a:gd name="T61" fmla="*/ 2318 h 7505"/>
                <a:gd name="T62" fmla="*/ 2516 w 3458"/>
                <a:gd name="T63" fmla="*/ 3690 h 7505"/>
                <a:gd name="T64" fmla="*/ 1683 w 3458"/>
                <a:gd name="T65" fmla="*/ 3800 h 7505"/>
                <a:gd name="T66" fmla="*/ 1248 w 3458"/>
                <a:gd name="T67" fmla="*/ 3853 h 7505"/>
                <a:gd name="T68" fmla="*/ 1388 w 3458"/>
                <a:gd name="T69" fmla="*/ 3905 h 7505"/>
                <a:gd name="T70" fmla="*/ 1708 w 3458"/>
                <a:gd name="T71" fmla="*/ 3925 h 7505"/>
                <a:gd name="T72" fmla="*/ 2079 w 3458"/>
                <a:gd name="T73" fmla="*/ 3964 h 7505"/>
                <a:gd name="T74" fmla="*/ 1632 w 3458"/>
                <a:gd name="T75" fmla="*/ 4533 h 7505"/>
                <a:gd name="T76" fmla="*/ 2102 w 3458"/>
                <a:gd name="T77" fmla="*/ 4931 h 7505"/>
                <a:gd name="T78" fmla="*/ 2730 w 3458"/>
                <a:gd name="T79" fmla="*/ 4966 h 7505"/>
                <a:gd name="T80" fmla="*/ 2227 w 3458"/>
                <a:gd name="T81" fmla="*/ 5621 h 7505"/>
                <a:gd name="T82" fmla="*/ 2614 w 3458"/>
                <a:gd name="T83" fmla="*/ 5804 h 7505"/>
                <a:gd name="T84" fmla="*/ 2167 w 3458"/>
                <a:gd name="T85" fmla="*/ 5966 h 7505"/>
                <a:gd name="T86" fmla="*/ 2280 w 3458"/>
                <a:gd name="T87" fmla="*/ 6199 h 7505"/>
                <a:gd name="T88" fmla="*/ 2232 w 3458"/>
                <a:gd name="T89" fmla="*/ 6503 h 7505"/>
                <a:gd name="T90" fmla="*/ 2201 w 3458"/>
                <a:gd name="T91" fmla="*/ 6620 h 7505"/>
                <a:gd name="T92" fmla="*/ 1380 w 3458"/>
                <a:gd name="T93" fmla="*/ 6813 h 7505"/>
                <a:gd name="T94" fmla="*/ 1698 w 3458"/>
                <a:gd name="T95" fmla="*/ 6844 h 7505"/>
                <a:gd name="T96" fmla="*/ 2663 w 3458"/>
                <a:gd name="T97" fmla="*/ 6853 h 7505"/>
                <a:gd name="T98" fmla="*/ 1401 w 3458"/>
                <a:gd name="T99" fmla="*/ 6890 h 7505"/>
                <a:gd name="T100" fmla="*/ 1471 w 3458"/>
                <a:gd name="T101" fmla="*/ 6917 h 7505"/>
                <a:gd name="T102" fmla="*/ 2541 w 3458"/>
                <a:gd name="T103" fmla="*/ 6996 h 7505"/>
                <a:gd name="T104" fmla="*/ 2688 w 3458"/>
                <a:gd name="T105" fmla="*/ 7031 h 7505"/>
                <a:gd name="T106" fmla="*/ 2809 w 3458"/>
                <a:gd name="T107" fmla="*/ 7110 h 7505"/>
                <a:gd name="T108" fmla="*/ 1230 w 3458"/>
                <a:gd name="T109" fmla="*/ 7168 h 7505"/>
                <a:gd name="T110" fmla="*/ 2945 w 3458"/>
                <a:gd name="T111" fmla="*/ 7263 h 7505"/>
                <a:gd name="T112" fmla="*/ 2747 w 3458"/>
                <a:gd name="T113" fmla="*/ 7351 h 7505"/>
                <a:gd name="T114" fmla="*/ 2673 w 3458"/>
                <a:gd name="T115" fmla="*/ 7388 h 7505"/>
                <a:gd name="T116" fmla="*/ 1362 w 3458"/>
                <a:gd name="T117" fmla="*/ 7442 h 7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458" h="7505">
                  <a:moveTo>
                    <a:pt x="3172" y="0"/>
                  </a:moveTo>
                  <a:cubicBezTo>
                    <a:pt x="3149" y="5"/>
                    <a:pt x="3133" y="22"/>
                    <a:pt x="3108" y="25"/>
                  </a:cubicBezTo>
                  <a:cubicBezTo>
                    <a:pt x="3092" y="27"/>
                    <a:pt x="3076" y="20"/>
                    <a:pt x="3061" y="22"/>
                  </a:cubicBezTo>
                  <a:cubicBezTo>
                    <a:pt x="3038" y="25"/>
                    <a:pt x="3029" y="44"/>
                    <a:pt x="3011" y="52"/>
                  </a:cubicBezTo>
                  <a:cubicBezTo>
                    <a:pt x="2951" y="27"/>
                    <a:pt x="2925" y="85"/>
                    <a:pt x="2879" y="92"/>
                  </a:cubicBezTo>
                  <a:cubicBezTo>
                    <a:pt x="2846" y="150"/>
                    <a:pt x="2868" y="225"/>
                    <a:pt x="2880" y="295"/>
                  </a:cubicBezTo>
                  <a:cubicBezTo>
                    <a:pt x="2884" y="319"/>
                    <a:pt x="2884" y="344"/>
                    <a:pt x="2893" y="366"/>
                  </a:cubicBezTo>
                  <a:cubicBezTo>
                    <a:pt x="2899" y="382"/>
                    <a:pt x="2914" y="400"/>
                    <a:pt x="2925" y="417"/>
                  </a:cubicBezTo>
                  <a:cubicBezTo>
                    <a:pt x="2942" y="446"/>
                    <a:pt x="2953" y="470"/>
                    <a:pt x="2970" y="487"/>
                  </a:cubicBezTo>
                  <a:cubicBezTo>
                    <a:pt x="2964" y="613"/>
                    <a:pt x="2974" y="725"/>
                    <a:pt x="2984" y="836"/>
                  </a:cubicBezTo>
                  <a:cubicBezTo>
                    <a:pt x="2996" y="958"/>
                    <a:pt x="3024" y="1073"/>
                    <a:pt x="3027" y="1195"/>
                  </a:cubicBezTo>
                  <a:cubicBezTo>
                    <a:pt x="3028" y="1275"/>
                    <a:pt x="3027" y="1367"/>
                    <a:pt x="3040" y="1452"/>
                  </a:cubicBezTo>
                  <a:cubicBezTo>
                    <a:pt x="3018" y="1447"/>
                    <a:pt x="3006" y="1447"/>
                    <a:pt x="2983" y="1443"/>
                  </a:cubicBezTo>
                  <a:cubicBezTo>
                    <a:pt x="2829" y="1464"/>
                    <a:pt x="2720" y="1527"/>
                    <a:pt x="2629" y="1601"/>
                  </a:cubicBezTo>
                  <a:cubicBezTo>
                    <a:pt x="2623" y="1594"/>
                    <a:pt x="2614" y="1588"/>
                    <a:pt x="2605" y="1587"/>
                  </a:cubicBezTo>
                  <a:cubicBezTo>
                    <a:pt x="2598" y="1585"/>
                    <a:pt x="2573" y="1582"/>
                    <a:pt x="2561" y="1582"/>
                  </a:cubicBezTo>
                  <a:cubicBezTo>
                    <a:pt x="2495" y="1585"/>
                    <a:pt x="2411" y="1602"/>
                    <a:pt x="2364" y="1630"/>
                  </a:cubicBezTo>
                  <a:cubicBezTo>
                    <a:pt x="2353" y="1589"/>
                    <a:pt x="2284" y="1595"/>
                    <a:pt x="2259" y="1623"/>
                  </a:cubicBezTo>
                  <a:cubicBezTo>
                    <a:pt x="2260" y="1601"/>
                    <a:pt x="2245" y="1601"/>
                    <a:pt x="2232" y="1591"/>
                  </a:cubicBezTo>
                  <a:cubicBezTo>
                    <a:pt x="2221" y="1582"/>
                    <a:pt x="2218" y="1574"/>
                    <a:pt x="2211" y="1573"/>
                  </a:cubicBezTo>
                  <a:cubicBezTo>
                    <a:pt x="2183" y="1566"/>
                    <a:pt x="2170" y="1585"/>
                    <a:pt x="2148" y="1593"/>
                  </a:cubicBezTo>
                  <a:cubicBezTo>
                    <a:pt x="2146" y="1590"/>
                    <a:pt x="2145" y="1576"/>
                    <a:pt x="2139" y="1570"/>
                  </a:cubicBezTo>
                  <a:cubicBezTo>
                    <a:pt x="2175" y="1488"/>
                    <a:pt x="2201" y="1389"/>
                    <a:pt x="2234" y="1308"/>
                  </a:cubicBezTo>
                  <a:cubicBezTo>
                    <a:pt x="2244" y="1310"/>
                    <a:pt x="2252" y="1317"/>
                    <a:pt x="2265" y="1317"/>
                  </a:cubicBezTo>
                  <a:cubicBezTo>
                    <a:pt x="2274" y="1311"/>
                    <a:pt x="2292" y="1306"/>
                    <a:pt x="2302" y="1296"/>
                  </a:cubicBezTo>
                  <a:cubicBezTo>
                    <a:pt x="2321" y="1276"/>
                    <a:pt x="2354" y="1191"/>
                    <a:pt x="2352" y="1163"/>
                  </a:cubicBezTo>
                  <a:cubicBezTo>
                    <a:pt x="2350" y="1132"/>
                    <a:pt x="2328" y="1113"/>
                    <a:pt x="2312" y="1092"/>
                  </a:cubicBezTo>
                  <a:cubicBezTo>
                    <a:pt x="2322" y="1067"/>
                    <a:pt x="2326" y="1035"/>
                    <a:pt x="2332" y="1006"/>
                  </a:cubicBezTo>
                  <a:cubicBezTo>
                    <a:pt x="2332" y="999"/>
                    <a:pt x="2324" y="1000"/>
                    <a:pt x="2321" y="997"/>
                  </a:cubicBezTo>
                  <a:cubicBezTo>
                    <a:pt x="2328" y="966"/>
                    <a:pt x="2323" y="932"/>
                    <a:pt x="2313" y="899"/>
                  </a:cubicBezTo>
                  <a:cubicBezTo>
                    <a:pt x="2281" y="788"/>
                    <a:pt x="2166" y="684"/>
                    <a:pt x="2078" y="642"/>
                  </a:cubicBezTo>
                  <a:cubicBezTo>
                    <a:pt x="2066" y="636"/>
                    <a:pt x="2040" y="625"/>
                    <a:pt x="2029" y="623"/>
                  </a:cubicBezTo>
                  <a:cubicBezTo>
                    <a:pt x="2011" y="620"/>
                    <a:pt x="1972" y="629"/>
                    <a:pt x="1952" y="636"/>
                  </a:cubicBezTo>
                  <a:cubicBezTo>
                    <a:pt x="1917" y="648"/>
                    <a:pt x="1875" y="671"/>
                    <a:pt x="1839" y="695"/>
                  </a:cubicBezTo>
                  <a:cubicBezTo>
                    <a:pt x="1796" y="724"/>
                    <a:pt x="1754" y="766"/>
                    <a:pt x="1730" y="807"/>
                  </a:cubicBezTo>
                  <a:cubicBezTo>
                    <a:pt x="1689" y="874"/>
                    <a:pt x="1687" y="955"/>
                    <a:pt x="1672" y="1030"/>
                  </a:cubicBezTo>
                  <a:cubicBezTo>
                    <a:pt x="1643" y="1032"/>
                    <a:pt x="1631" y="1060"/>
                    <a:pt x="1625" y="1086"/>
                  </a:cubicBezTo>
                  <a:cubicBezTo>
                    <a:pt x="1614" y="1139"/>
                    <a:pt x="1616" y="1202"/>
                    <a:pt x="1633" y="1239"/>
                  </a:cubicBezTo>
                  <a:cubicBezTo>
                    <a:pt x="1642" y="1243"/>
                    <a:pt x="1651" y="1248"/>
                    <a:pt x="1659" y="1254"/>
                  </a:cubicBezTo>
                  <a:cubicBezTo>
                    <a:pt x="1651" y="1300"/>
                    <a:pt x="1664" y="1361"/>
                    <a:pt x="1656" y="1418"/>
                  </a:cubicBezTo>
                  <a:cubicBezTo>
                    <a:pt x="1655" y="1428"/>
                    <a:pt x="1648" y="1435"/>
                    <a:pt x="1647" y="1445"/>
                  </a:cubicBezTo>
                  <a:cubicBezTo>
                    <a:pt x="1639" y="1492"/>
                    <a:pt x="1648" y="1539"/>
                    <a:pt x="1604" y="1559"/>
                  </a:cubicBezTo>
                  <a:cubicBezTo>
                    <a:pt x="1561" y="1552"/>
                    <a:pt x="1537" y="1606"/>
                    <a:pt x="1519" y="1639"/>
                  </a:cubicBezTo>
                  <a:cubicBezTo>
                    <a:pt x="1509" y="1614"/>
                    <a:pt x="1480" y="1597"/>
                    <a:pt x="1446" y="1606"/>
                  </a:cubicBezTo>
                  <a:cubicBezTo>
                    <a:pt x="1436" y="1582"/>
                    <a:pt x="1406" y="1577"/>
                    <a:pt x="1389" y="1561"/>
                  </a:cubicBezTo>
                  <a:cubicBezTo>
                    <a:pt x="1379" y="1561"/>
                    <a:pt x="1368" y="1568"/>
                    <a:pt x="1361" y="1577"/>
                  </a:cubicBezTo>
                  <a:cubicBezTo>
                    <a:pt x="1246" y="1547"/>
                    <a:pt x="1090" y="1524"/>
                    <a:pt x="946" y="1555"/>
                  </a:cubicBezTo>
                  <a:cubicBezTo>
                    <a:pt x="839" y="1463"/>
                    <a:pt x="699" y="1435"/>
                    <a:pt x="551" y="1420"/>
                  </a:cubicBezTo>
                  <a:cubicBezTo>
                    <a:pt x="520" y="1417"/>
                    <a:pt x="494" y="1408"/>
                    <a:pt x="473" y="1387"/>
                  </a:cubicBezTo>
                  <a:cubicBezTo>
                    <a:pt x="478" y="1346"/>
                    <a:pt x="494" y="1301"/>
                    <a:pt x="500" y="1255"/>
                  </a:cubicBezTo>
                  <a:cubicBezTo>
                    <a:pt x="505" y="1210"/>
                    <a:pt x="502" y="1158"/>
                    <a:pt x="505" y="1111"/>
                  </a:cubicBezTo>
                  <a:cubicBezTo>
                    <a:pt x="510" y="1021"/>
                    <a:pt x="519" y="939"/>
                    <a:pt x="549" y="866"/>
                  </a:cubicBezTo>
                  <a:cubicBezTo>
                    <a:pt x="572" y="809"/>
                    <a:pt x="591" y="759"/>
                    <a:pt x="605" y="691"/>
                  </a:cubicBezTo>
                  <a:cubicBezTo>
                    <a:pt x="611" y="665"/>
                    <a:pt x="620" y="645"/>
                    <a:pt x="629" y="621"/>
                  </a:cubicBezTo>
                  <a:cubicBezTo>
                    <a:pt x="648" y="567"/>
                    <a:pt x="672" y="508"/>
                    <a:pt x="700" y="465"/>
                  </a:cubicBezTo>
                  <a:cubicBezTo>
                    <a:pt x="729" y="420"/>
                    <a:pt x="757" y="379"/>
                    <a:pt x="757" y="311"/>
                  </a:cubicBezTo>
                  <a:cubicBezTo>
                    <a:pt x="760" y="314"/>
                    <a:pt x="763" y="315"/>
                    <a:pt x="765" y="315"/>
                  </a:cubicBezTo>
                  <a:cubicBezTo>
                    <a:pt x="767" y="310"/>
                    <a:pt x="769" y="307"/>
                    <a:pt x="772" y="304"/>
                  </a:cubicBezTo>
                  <a:cubicBezTo>
                    <a:pt x="771" y="304"/>
                    <a:pt x="771" y="304"/>
                    <a:pt x="770" y="303"/>
                  </a:cubicBezTo>
                  <a:cubicBezTo>
                    <a:pt x="794" y="241"/>
                    <a:pt x="855" y="151"/>
                    <a:pt x="807" y="75"/>
                  </a:cubicBezTo>
                  <a:cubicBezTo>
                    <a:pt x="787" y="74"/>
                    <a:pt x="778" y="52"/>
                    <a:pt x="755" y="64"/>
                  </a:cubicBezTo>
                  <a:cubicBezTo>
                    <a:pt x="734" y="29"/>
                    <a:pt x="670" y="52"/>
                    <a:pt x="639" y="50"/>
                  </a:cubicBezTo>
                  <a:cubicBezTo>
                    <a:pt x="611" y="10"/>
                    <a:pt x="546" y="0"/>
                    <a:pt x="509" y="39"/>
                  </a:cubicBezTo>
                  <a:cubicBezTo>
                    <a:pt x="506" y="39"/>
                    <a:pt x="504" y="37"/>
                    <a:pt x="501" y="37"/>
                  </a:cubicBezTo>
                  <a:cubicBezTo>
                    <a:pt x="495" y="35"/>
                    <a:pt x="490" y="34"/>
                    <a:pt x="482" y="35"/>
                  </a:cubicBezTo>
                  <a:cubicBezTo>
                    <a:pt x="419" y="98"/>
                    <a:pt x="475" y="211"/>
                    <a:pt x="451" y="293"/>
                  </a:cubicBezTo>
                  <a:cubicBezTo>
                    <a:pt x="461" y="327"/>
                    <a:pt x="460" y="368"/>
                    <a:pt x="452" y="403"/>
                  </a:cubicBezTo>
                  <a:cubicBezTo>
                    <a:pt x="458" y="408"/>
                    <a:pt x="463" y="414"/>
                    <a:pt x="465" y="423"/>
                  </a:cubicBezTo>
                  <a:cubicBezTo>
                    <a:pt x="433" y="541"/>
                    <a:pt x="384" y="659"/>
                    <a:pt x="322" y="757"/>
                  </a:cubicBezTo>
                  <a:cubicBezTo>
                    <a:pt x="276" y="874"/>
                    <a:pt x="204" y="969"/>
                    <a:pt x="147" y="1076"/>
                  </a:cubicBezTo>
                  <a:cubicBezTo>
                    <a:pt x="137" y="1139"/>
                    <a:pt x="107" y="1182"/>
                    <a:pt x="93" y="1239"/>
                  </a:cubicBezTo>
                  <a:cubicBezTo>
                    <a:pt x="87" y="1264"/>
                    <a:pt x="87" y="1296"/>
                    <a:pt x="78" y="1325"/>
                  </a:cubicBezTo>
                  <a:cubicBezTo>
                    <a:pt x="69" y="1351"/>
                    <a:pt x="53" y="1379"/>
                    <a:pt x="42" y="1409"/>
                  </a:cubicBezTo>
                  <a:cubicBezTo>
                    <a:pt x="30" y="1443"/>
                    <a:pt x="12" y="1492"/>
                    <a:pt x="7" y="1523"/>
                  </a:cubicBezTo>
                  <a:cubicBezTo>
                    <a:pt x="0" y="1560"/>
                    <a:pt x="24" y="1587"/>
                    <a:pt x="35" y="1617"/>
                  </a:cubicBezTo>
                  <a:cubicBezTo>
                    <a:pt x="50" y="1655"/>
                    <a:pt x="88" y="1669"/>
                    <a:pt x="125" y="1694"/>
                  </a:cubicBezTo>
                  <a:cubicBezTo>
                    <a:pt x="156" y="1714"/>
                    <a:pt x="184" y="1736"/>
                    <a:pt x="210" y="1752"/>
                  </a:cubicBezTo>
                  <a:cubicBezTo>
                    <a:pt x="272" y="1792"/>
                    <a:pt x="336" y="1823"/>
                    <a:pt x="395" y="1852"/>
                  </a:cubicBezTo>
                  <a:cubicBezTo>
                    <a:pt x="460" y="1882"/>
                    <a:pt x="529" y="1907"/>
                    <a:pt x="593" y="1938"/>
                  </a:cubicBezTo>
                  <a:cubicBezTo>
                    <a:pt x="626" y="1954"/>
                    <a:pt x="656" y="1973"/>
                    <a:pt x="687" y="1986"/>
                  </a:cubicBezTo>
                  <a:cubicBezTo>
                    <a:pt x="766" y="2019"/>
                    <a:pt x="865" y="2024"/>
                    <a:pt x="944" y="2050"/>
                  </a:cubicBezTo>
                  <a:cubicBezTo>
                    <a:pt x="970" y="2090"/>
                    <a:pt x="1009" y="2117"/>
                    <a:pt x="1042" y="2150"/>
                  </a:cubicBezTo>
                  <a:cubicBezTo>
                    <a:pt x="1036" y="2221"/>
                    <a:pt x="1076" y="2270"/>
                    <a:pt x="1097" y="2328"/>
                  </a:cubicBezTo>
                  <a:cubicBezTo>
                    <a:pt x="1098" y="2332"/>
                    <a:pt x="1094" y="2337"/>
                    <a:pt x="1095" y="2341"/>
                  </a:cubicBezTo>
                  <a:cubicBezTo>
                    <a:pt x="1096" y="2345"/>
                    <a:pt x="1102" y="2345"/>
                    <a:pt x="1103" y="2348"/>
                  </a:cubicBezTo>
                  <a:cubicBezTo>
                    <a:pt x="1119" y="2408"/>
                    <a:pt x="1112" y="2461"/>
                    <a:pt x="1111" y="2533"/>
                  </a:cubicBezTo>
                  <a:cubicBezTo>
                    <a:pt x="1111" y="2557"/>
                    <a:pt x="1117" y="2585"/>
                    <a:pt x="1118" y="2612"/>
                  </a:cubicBezTo>
                  <a:cubicBezTo>
                    <a:pt x="1122" y="2737"/>
                    <a:pt x="1145" y="2879"/>
                    <a:pt x="1131" y="3005"/>
                  </a:cubicBezTo>
                  <a:cubicBezTo>
                    <a:pt x="1149" y="3155"/>
                    <a:pt x="1129" y="3309"/>
                    <a:pt x="1110" y="3477"/>
                  </a:cubicBezTo>
                  <a:cubicBezTo>
                    <a:pt x="1101" y="3563"/>
                    <a:pt x="1102" y="3654"/>
                    <a:pt x="1087" y="3734"/>
                  </a:cubicBezTo>
                  <a:cubicBezTo>
                    <a:pt x="1080" y="3773"/>
                    <a:pt x="1060" y="3820"/>
                    <a:pt x="1083" y="3842"/>
                  </a:cubicBezTo>
                  <a:cubicBezTo>
                    <a:pt x="1086" y="3845"/>
                    <a:pt x="1114" y="3857"/>
                    <a:pt x="1125" y="3859"/>
                  </a:cubicBezTo>
                  <a:cubicBezTo>
                    <a:pt x="1138" y="3862"/>
                    <a:pt x="1154" y="3852"/>
                    <a:pt x="1163" y="3860"/>
                  </a:cubicBezTo>
                  <a:cubicBezTo>
                    <a:pt x="1155" y="3901"/>
                    <a:pt x="1148" y="3938"/>
                    <a:pt x="1136" y="3979"/>
                  </a:cubicBezTo>
                  <a:cubicBezTo>
                    <a:pt x="1125" y="4021"/>
                    <a:pt x="1121" y="4061"/>
                    <a:pt x="1115" y="4106"/>
                  </a:cubicBezTo>
                  <a:cubicBezTo>
                    <a:pt x="1103" y="4195"/>
                    <a:pt x="1087" y="4284"/>
                    <a:pt x="1087" y="4375"/>
                  </a:cubicBezTo>
                  <a:cubicBezTo>
                    <a:pt x="1087" y="4427"/>
                    <a:pt x="1095" y="4480"/>
                    <a:pt x="1095" y="4534"/>
                  </a:cubicBezTo>
                  <a:cubicBezTo>
                    <a:pt x="1094" y="4603"/>
                    <a:pt x="1093" y="4670"/>
                    <a:pt x="1086" y="4737"/>
                  </a:cubicBezTo>
                  <a:cubicBezTo>
                    <a:pt x="1084" y="4763"/>
                    <a:pt x="1079" y="4788"/>
                    <a:pt x="1075" y="4814"/>
                  </a:cubicBezTo>
                  <a:cubicBezTo>
                    <a:pt x="1067" y="4862"/>
                    <a:pt x="1070" y="4915"/>
                    <a:pt x="1067" y="4969"/>
                  </a:cubicBezTo>
                  <a:cubicBezTo>
                    <a:pt x="1065" y="5023"/>
                    <a:pt x="1060" y="5078"/>
                    <a:pt x="1060" y="5131"/>
                  </a:cubicBezTo>
                  <a:cubicBezTo>
                    <a:pt x="1058" y="5277"/>
                    <a:pt x="1052" y="5405"/>
                    <a:pt x="1079" y="5522"/>
                  </a:cubicBezTo>
                  <a:cubicBezTo>
                    <a:pt x="1081" y="5527"/>
                    <a:pt x="1082" y="5531"/>
                    <a:pt x="1083" y="5536"/>
                  </a:cubicBezTo>
                  <a:cubicBezTo>
                    <a:pt x="1081" y="5546"/>
                    <a:pt x="1083" y="5548"/>
                    <a:pt x="1081" y="5554"/>
                  </a:cubicBezTo>
                  <a:cubicBezTo>
                    <a:pt x="1105" y="5626"/>
                    <a:pt x="1142" y="5682"/>
                    <a:pt x="1152" y="5762"/>
                  </a:cubicBezTo>
                  <a:cubicBezTo>
                    <a:pt x="1133" y="5826"/>
                    <a:pt x="1149" y="5891"/>
                    <a:pt x="1171" y="5950"/>
                  </a:cubicBezTo>
                  <a:cubicBezTo>
                    <a:pt x="1162" y="5983"/>
                    <a:pt x="1192" y="6015"/>
                    <a:pt x="1205" y="6049"/>
                  </a:cubicBezTo>
                  <a:cubicBezTo>
                    <a:pt x="1222" y="6096"/>
                    <a:pt x="1229" y="6162"/>
                    <a:pt x="1228" y="6220"/>
                  </a:cubicBezTo>
                  <a:cubicBezTo>
                    <a:pt x="1227" y="6267"/>
                    <a:pt x="1221" y="6311"/>
                    <a:pt x="1224" y="6357"/>
                  </a:cubicBezTo>
                  <a:cubicBezTo>
                    <a:pt x="1231" y="6449"/>
                    <a:pt x="1279" y="6522"/>
                    <a:pt x="1300" y="6606"/>
                  </a:cubicBezTo>
                  <a:cubicBezTo>
                    <a:pt x="1289" y="6619"/>
                    <a:pt x="1294" y="6633"/>
                    <a:pt x="1295" y="6645"/>
                  </a:cubicBezTo>
                  <a:cubicBezTo>
                    <a:pt x="1291" y="6655"/>
                    <a:pt x="1281" y="6659"/>
                    <a:pt x="1279" y="6671"/>
                  </a:cubicBezTo>
                  <a:cubicBezTo>
                    <a:pt x="1291" y="6700"/>
                    <a:pt x="1294" y="6739"/>
                    <a:pt x="1310" y="6765"/>
                  </a:cubicBezTo>
                  <a:cubicBezTo>
                    <a:pt x="1286" y="6785"/>
                    <a:pt x="1278" y="6813"/>
                    <a:pt x="1272" y="6843"/>
                  </a:cubicBezTo>
                  <a:cubicBezTo>
                    <a:pt x="1267" y="6865"/>
                    <a:pt x="1263" y="6889"/>
                    <a:pt x="1253" y="6908"/>
                  </a:cubicBezTo>
                  <a:cubicBezTo>
                    <a:pt x="1246" y="6922"/>
                    <a:pt x="1233" y="6933"/>
                    <a:pt x="1225" y="6945"/>
                  </a:cubicBezTo>
                  <a:cubicBezTo>
                    <a:pt x="1182" y="7018"/>
                    <a:pt x="1181" y="7111"/>
                    <a:pt x="1125" y="7177"/>
                  </a:cubicBezTo>
                  <a:cubicBezTo>
                    <a:pt x="1102" y="7251"/>
                    <a:pt x="1048" y="7326"/>
                    <a:pt x="1063" y="7408"/>
                  </a:cubicBezTo>
                  <a:cubicBezTo>
                    <a:pt x="1068" y="7438"/>
                    <a:pt x="1091" y="7465"/>
                    <a:pt x="1111" y="7476"/>
                  </a:cubicBezTo>
                  <a:cubicBezTo>
                    <a:pt x="1169" y="7505"/>
                    <a:pt x="1258" y="7502"/>
                    <a:pt x="1328" y="7502"/>
                  </a:cubicBezTo>
                  <a:cubicBezTo>
                    <a:pt x="1400" y="7465"/>
                    <a:pt x="1464" y="7434"/>
                    <a:pt x="1498" y="7363"/>
                  </a:cubicBezTo>
                  <a:cubicBezTo>
                    <a:pt x="1515" y="7329"/>
                    <a:pt x="1523" y="7289"/>
                    <a:pt x="1541" y="7254"/>
                  </a:cubicBezTo>
                  <a:cubicBezTo>
                    <a:pt x="1563" y="7213"/>
                    <a:pt x="1613" y="7185"/>
                    <a:pt x="1646" y="7153"/>
                  </a:cubicBezTo>
                  <a:cubicBezTo>
                    <a:pt x="1674" y="7126"/>
                    <a:pt x="1691" y="7092"/>
                    <a:pt x="1728" y="7066"/>
                  </a:cubicBezTo>
                  <a:cubicBezTo>
                    <a:pt x="1732" y="7054"/>
                    <a:pt x="1735" y="7040"/>
                    <a:pt x="1743" y="7032"/>
                  </a:cubicBezTo>
                  <a:cubicBezTo>
                    <a:pt x="1737" y="6998"/>
                    <a:pt x="1746" y="6964"/>
                    <a:pt x="1744" y="6932"/>
                  </a:cubicBezTo>
                  <a:cubicBezTo>
                    <a:pt x="1743" y="6905"/>
                    <a:pt x="1740" y="6887"/>
                    <a:pt x="1745" y="6864"/>
                  </a:cubicBezTo>
                  <a:cubicBezTo>
                    <a:pt x="1748" y="6850"/>
                    <a:pt x="1751" y="6837"/>
                    <a:pt x="1755" y="6824"/>
                  </a:cubicBezTo>
                  <a:lnTo>
                    <a:pt x="1736" y="6819"/>
                  </a:lnTo>
                  <a:lnTo>
                    <a:pt x="1755" y="6823"/>
                  </a:lnTo>
                  <a:cubicBezTo>
                    <a:pt x="1773" y="6751"/>
                    <a:pt x="1799" y="6684"/>
                    <a:pt x="1814" y="6616"/>
                  </a:cubicBezTo>
                  <a:cubicBezTo>
                    <a:pt x="1810" y="6612"/>
                    <a:pt x="1807" y="6607"/>
                    <a:pt x="1806" y="6600"/>
                  </a:cubicBezTo>
                  <a:cubicBezTo>
                    <a:pt x="1816" y="6455"/>
                    <a:pt x="1808" y="6293"/>
                    <a:pt x="1797" y="6156"/>
                  </a:cubicBezTo>
                  <a:cubicBezTo>
                    <a:pt x="1791" y="6081"/>
                    <a:pt x="1797" y="6005"/>
                    <a:pt x="1790" y="5933"/>
                  </a:cubicBezTo>
                  <a:cubicBezTo>
                    <a:pt x="1787" y="5899"/>
                    <a:pt x="1777" y="5868"/>
                    <a:pt x="1771" y="5836"/>
                  </a:cubicBezTo>
                  <a:cubicBezTo>
                    <a:pt x="1765" y="5807"/>
                    <a:pt x="1770" y="5779"/>
                    <a:pt x="1768" y="5750"/>
                  </a:cubicBezTo>
                  <a:cubicBezTo>
                    <a:pt x="1766" y="5709"/>
                    <a:pt x="1755" y="5665"/>
                    <a:pt x="1751" y="5623"/>
                  </a:cubicBezTo>
                  <a:cubicBezTo>
                    <a:pt x="1747" y="5578"/>
                    <a:pt x="1746" y="5535"/>
                    <a:pt x="1740" y="5495"/>
                  </a:cubicBezTo>
                  <a:cubicBezTo>
                    <a:pt x="1736" y="5470"/>
                    <a:pt x="1728" y="5443"/>
                    <a:pt x="1727" y="5421"/>
                  </a:cubicBezTo>
                  <a:lnTo>
                    <a:pt x="1726" y="5421"/>
                  </a:lnTo>
                  <a:cubicBezTo>
                    <a:pt x="1726" y="5411"/>
                    <a:pt x="1727" y="5402"/>
                    <a:pt x="1731" y="5395"/>
                  </a:cubicBezTo>
                  <a:cubicBezTo>
                    <a:pt x="1706" y="5256"/>
                    <a:pt x="1747" y="5109"/>
                    <a:pt x="1769" y="4978"/>
                  </a:cubicBezTo>
                  <a:cubicBezTo>
                    <a:pt x="1793" y="4946"/>
                    <a:pt x="1800" y="4890"/>
                    <a:pt x="1799" y="4843"/>
                  </a:cubicBezTo>
                  <a:cubicBezTo>
                    <a:pt x="1825" y="4805"/>
                    <a:pt x="1803" y="4756"/>
                    <a:pt x="1820" y="4716"/>
                  </a:cubicBezTo>
                  <a:cubicBezTo>
                    <a:pt x="1834" y="4684"/>
                    <a:pt x="1861" y="4663"/>
                    <a:pt x="1871" y="4630"/>
                  </a:cubicBezTo>
                  <a:cubicBezTo>
                    <a:pt x="1881" y="4599"/>
                    <a:pt x="1877" y="4574"/>
                    <a:pt x="1902" y="4560"/>
                  </a:cubicBezTo>
                  <a:cubicBezTo>
                    <a:pt x="1934" y="4624"/>
                    <a:pt x="1965" y="4683"/>
                    <a:pt x="1994" y="4749"/>
                  </a:cubicBezTo>
                  <a:cubicBezTo>
                    <a:pt x="2004" y="4772"/>
                    <a:pt x="2009" y="4797"/>
                    <a:pt x="2019" y="4823"/>
                  </a:cubicBezTo>
                  <a:cubicBezTo>
                    <a:pt x="2030" y="4851"/>
                    <a:pt x="2051" y="4876"/>
                    <a:pt x="2063" y="4906"/>
                  </a:cubicBezTo>
                  <a:cubicBezTo>
                    <a:pt x="2074" y="4935"/>
                    <a:pt x="2085" y="4968"/>
                    <a:pt x="2091" y="5000"/>
                  </a:cubicBezTo>
                  <a:cubicBezTo>
                    <a:pt x="2094" y="5012"/>
                    <a:pt x="2090" y="5024"/>
                    <a:pt x="2092" y="5036"/>
                  </a:cubicBezTo>
                  <a:cubicBezTo>
                    <a:pt x="2097" y="5063"/>
                    <a:pt x="2108" y="5090"/>
                    <a:pt x="2113" y="5118"/>
                  </a:cubicBezTo>
                  <a:cubicBezTo>
                    <a:pt x="2132" y="5231"/>
                    <a:pt x="2164" y="5358"/>
                    <a:pt x="2170" y="5458"/>
                  </a:cubicBezTo>
                  <a:cubicBezTo>
                    <a:pt x="2180" y="5524"/>
                    <a:pt x="2215" y="5602"/>
                    <a:pt x="2208" y="5665"/>
                  </a:cubicBezTo>
                  <a:cubicBezTo>
                    <a:pt x="2206" y="5679"/>
                    <a:pt x="2197" y="5690"/>
                    <a:pt x="2193" y="5704"/>
                  </a:cubicBezTo>
                  <a:cubicBezTo>
                    <a:pt x="2186" y="5733"/>
                    <a:pt x="2187" y="5766"/>
                    <a:pt x="2179" y="5797"/>
                  </a:cubicBezTo>
                  <a:cubicBezTo>
                    <a:pt x="2168" y="5837"/>
                    <a:pt x="2155" y="5879"/>
                    <a:pt x="2148" y="5911"/>
                  </a:cubicBezTo>
                  <a:cubicBezTo>
                    <a:pt x="2139" y="5960"/>
                    <a:pt x="2136" y="6016"/>
                    <a:pt x="2135" y="6066"/>
                  </a:cubicBezTo>
                  <a:cubicBezTo>
                    <a:pt x="2135" y="6117"/>
                    <a:pt x="2133" y="6171"/>
                    <a:pt x="2141" y="6217"/>
                  </a:cubicBezTo>
                  <a:cubicBezTo>
                    <a:pt x="2153" y="6295"/>
                    <a:pt x="2169" y="6372"/>
                    <a:pt x="2194" y="6449"/>
                  </a:cubicBezTo>
                  <a:cubicBezTo>
                    <a:pt x="2205" y="6481"/>
                    <a:pt x="2211" y="6506"/>
                    <a:pt x="2210" y="6541"/>
                  </a:cubicBezTo>
                  <a:cubicBezTo>
                    <a:pt x="2193" y="6570"/>
                    <a:pt x="2174" y="6594"/>
                    <a:pt x="2166" y="6623"/>
                  </a:cubicBezTo>
                  <a:cubicBezTo>
                    <a:pt x="2143" y="6706"/>
                    <a:pt x="2199" y="6800"/>
                    <a:pt x="2213" y="6883"/>
                  </a:cubicBezTo>
                  <a:cubicBezTo>
                    <a:pt x="2225" y="6891"/>
                    <a:pt x="2241" y="6885"/>
                    <a:pt x="2252" y="6892"/>
                  </a:cubicBezTo>
                  <a:cubicBezTo>
                    <a:pt x="2254" y="6931"/>
                    <a:pt x="2255" y="6967"/>
                    <a:pt x="2258" y="7002"/>
                  </a:cubicBezTo>
                  <a:cubicBezTo>
                    <a:pt x="2285" y="7039"/>
                    <a:pt x="2323" y="7060"/>
                    <a:pt x="2363" y="7094"/>
                  </a:cubicBezTo>
                  <a:cubicBezTo>
                    <a:pt x="2379" y="7106"/>
                    <a:pt x="2395" y="7120"/>
                    <a:pt x="2411" y="7134"/>
                  </a:cubicBezTo>
                  <a:cubicBezTo>
                    <a:pt x="2427" y="7148"/>
                    <a:pt x="2447" y="7159"/>
                    <a:pt x="2461" y="7173"/>
                  </a:cubicBezTo>
                  <a:cubicBezTo>
                    <a:pt x="2506" y="7218"/>
                    <a:pt x="2518" y="7291"/>
                    <a:pt x="2556" y="7340"/>
                  </a:cubicBezTo>
                  <a:cubicBezTo>
                    <a:pt x="2596" y="7392"/>
                    <a:pt x="2652" y="7411"/>
                    <a:pt x="2711" y="7433"/>
                  </a:cubicBezTo>
                  <a:cubicBezTo>
                    <a:pt x="2748" y="7434"/>
                    <a:pt x="2786" y="7429"/>
                    <a:pt x="2829" y="7432"/>
                  </a:cubicBezTo>
                  <a:cubicBezTo>
                    <a:pt x="2866" y="7414"/>
                    <a:pt x="2907" y="7414"/>
                    <a:pt x="2941" y="7392"/>
                  </a:cubicBezTo>
                  <a:cubicBezTo>
                    <a:pt x="2952" y="7367"/>
                    <a:pt x="2977" y="7357"/>
                    <a:pt x="2990" y="7334"/>
                  </a:cubicBezTo>
                  <a:cubicBezTo>
                    <a:pt x="2985" y="7321"/>
                    <a:pt x="2982" y="7300"/>
                    <a:pt x="2986" y="7285"/>
                  </a:cubicBezTo>
                  <a:cubicBezTo>
                    <a:pt x="2965" y="7244"/>
                    <a:pt x="2965" y="7194"/>
                    <a:pt x="2946" y="7158"/>
                  </a:cubicBezTo>
                  <a:cubicBezTo>
                    <a:pt x="2940" y="7145"/>
                    <a:pt x="2926" y="7132"/>
                    <a:pt x="2917" y="7120"/>
                  </a:cubicBezTo>
                  <a:cubicBezTo>
                    <a:pt x="2887" y="7077"/>
                    <a:pt x="2860" y="7039"/>
                    <a:pt x="2836" y="6996"/>
                  </a:cubicBezTo>
                  <a:cubicBezTo>
                    <a:pt x="2803" y="6938"/>
                    <a:pt x="2765" y="6885"/>
                    <a:pt x="2748" y="6812"/>
                  </a:cubicBezTo>
                  <a:cubicBezTo>
                    <a:pt x="2736" y="6794"/>
                    <a:pt x="2710" y="6763"/>
                    <a:pt x="2710" y="6738"/>
                  </a:cubicBezTo>
                  <a:cubicBezTo>
                    <a:pt x="2710" y="6715"/>
                    <a:pt x="2736" y="6696"/>
                    <a:pt x="2723" y="6669"/>
                  </a:cubicBezTo>
                  <a:cubicBezTo>
                    <a:pt x="2760" y="6574"/>
                    <a:pt x="2783" y="6486"/>
                    <a:pt x="2781" y="6384"/>
                  </a:cubicBezTo>
                  <a:cubicBezTo>
                    <a:pt x="2780" y="6353"/>
                    <a:pt x="2767" y="6325"/>
                    <a:pt x="2760" y="6293"/>
                  </a:cubicBezTo>
                  <a:cubicBezTo>
                    <a:pt x="2733" y="6177"/>
                    <a:pt x="2724" y="6042"/>
                    <a:pt x="2727" y="5910"/>
                  </a:cubicBezTo>
                  <a:cubicBezTo>
                    <a:pt x="2728" y="5873"/>
                    <a:pt x="2727" y="5835"/>
                    <a:pt x="2729" y="5800"/>
                  </a:cubicBezTo>
                  <a:cubicBezTo>
                    <a:pt x="2732" y="5744"/>
                    <a:pt x="2744" y="5688"/>
                    <a:pt x="2743" y="5635"/>
                  </a:cubicBezTo>
                  <a:cubicBezTo>
                    <a:pt x="2743" y="5588"/>
                    <a:pt x="2753" y="5541"/>
                    <a:pt x="2755" y="5493"/>
                  </a:cubicBezTo>
                  <a:cubicBezTo>
                    <a:pt x="2757" y="5432"/>
                    <a:pt x="2750" y="5370"/>
                    <a:pt x="2751" y="5308"/>
                  </a:cubicBezTo>
                  <a:cubicBezTo>
                    <a:pt x="2752" y="5241"/>
                    <a:pt x="2763" y="5174"/>
                    <a:pt x="2761" y="5111"/>
                  </a:cubicBezTo>
                  <a:cubicBezTo>
                    <a:pt x="2760" y="5080"/>
                    <a:pt x="2754" y="5051"/>
                    <a:pt x="2753" y="5021"/>
                  </a:cubicBezTo>
                  <a:cubicBezTo>
                    <a:pt x="2752" y="5001"/>
                    <a:pt x="2756" y="4981"/>
                    <a:pt x="2755" y="4961"/>
                  </a:cubicBezTo>
                  <a:cubicBezTo>
                    <a:pt x="2753" y="4913"/>
                    <a:pt x="2736" y="4863"/>
                    <a:pt x="2728" y="4811"/>
                  </a:cubicBezTo>
                  <a:cubicBezTo>
                    <a:pt x="2705" y="4669"/>
                    <a:pt x="2697" y="4540"/>
                    <a:pt x="2682" y="4427"/>
                  </a:cubicBezTo>
                  <a:cubicBezTo>
                    <a:pt x="2678" y="4400"/>
                    <a:pt x="2667" y="4375"/>
                    <a:pt x="2662" y="4350"/>
                  </a:cubicBezTo>
                  <a:cubicBezTo>
                    <a:pt x="2656" y="4318"/>
                    <a:pt x="2659" y="4285"/>
                    <a:pt x="2654" y="4255"/>
                  </a:cubicBezTo>
                  <a:cubicBezTo>
                    <a:pt x="2643" y="4189"/>
                    <a:pt x="2625" y="4124"/>
                    <a:pt x="2616" y="4066"/>
                  </a:cubicBezTo>
                  <a:cubicBezTo>
                    <a:pt x="2612" y="4032"/>
                    <a:pt x="2613" y="3998"/>
                    <a:pt x="2606" y="3966"/>
                  </a:cubicBezTo>
                  <a:cubicBezTo>
                    <a:pt x="2592" y="3905"/>
                    <a:pt x="2557" y="3853"/>
                    <a:pt x="2531" y="3799"/>
                  </a:cubicBezTo>
                  <a:cubicBezTo>
                    <a:pt x="2540" y="3786"/>
                    <a:pt x="2556" y="3779"/>
                    <a:pt x="2559" y="3764"/>
                  </a:cubicBezTo>
                  <a:cubicBezTo>
                    <a:pt x="2561" y="3750"/>
                    <a:pt x="2547" y="3734"/>
                    <a:pt x="2544" y="3719"/>
                  </a:cubicBezTo>
                  <a:cubicBezTo>
                    <a:pt x="2533" y="3660"/>
                    <a:pt x="2536" y="3586"/>
                    <a:pt x="2529" y="3509"/>
                  </a:cubicBezTo>
                  <a:cubicBezTo>
                    <a:pt x="2523" y="3441"/>
                    <a:pt x="2520" y="3367"/>
                    <a:pt x="2515" y="3298"/>
                  </a:cubicBezTo>
                  <a:cubicBezTo>
                    <a:pt x="2509" y="3203"/>
                    <a:pt x="2520" y="3120"/>
                    <a:pt x="2507" y="3039"/>
                  </a:cubicBezTo>
                  <a:cubicBezTo>
                    <a:pt x="2500" y="2999"/>
                    <a:pt x="2482" y="2963"/>
                    <a:pt x="2493" y="2929"/>
                  </a:cubicBezTo>
                  <a:cubicBezTo>
                    <a:pt x="2487" y="2923"/>
                    <a:pt x="2487" y="2920"/>
                    <a:pt x="2485" y="2911"/>
                  </a:cubicBezTo>
                  <a:cubicBezTo>
                    <a:pt x="2474" y="2850"/>
                    <a:pt x="2489" y="2765"/>
                    <a:pt x="2498" y="2693"/>
                  </a:cubicBezTo>
                  <a:cubicBezTo>
                    <a:pt x="2502" y="2667"/>
                    <a:pt x="2501" y="2640"/>
                    <a:pt x="2506" y="2618"/>
                  </a:cubicBezTo>
                  <a:cubicBezTo>
                    <a:pt x="2512" y="2591"/>
                    <a:pt x="2522" y="2568"/>
                    <a:pt x="2524" y="2540"/>
                  </a:cubicBezTo>
                  <a:cubicBezTo>
                    <a:pt x="2527" y="2512"/>
                    <a:pt x="2528" y="2487"/>
                    <a:pt x="2521" y="2458"/>
                  </a:cubicBezTo>
                  <a:cubicBezTo>
                    <a:pt x="2528" y="2453"/>
                    <a:pt x="2516" y="2461"/>
                    <a:pt x="2516" y="2453"/>
                  </a:cubicBezTo>
                  <a:cubicBezTo>
                    <a:pt x="2544" y="2389"/>
                    <a:pt x="2583" y="2318"/>
                    <a:pt x="2603" y="2252"/>
                  </a:cubicBezTo>
                  <a:cubicBezTo>
                    <a:pt x="2610" y="2226"/>
                    <a:pt x="2611" y="2199"/>
                    <a:pt x="2621" y="2175"/>
                  </a:cubicBezTo>
                  <a:cubicBezTo>
                    <a:pt x="2634" y="2142"/>
                    <a:pt x="2657" y="2115"/>
                    <a:pt x="2672" y="2086"/>
                  </a:cubicBezTo>
                  <a:cubicBezTo>
                    <a:pt x="2692" y="2084"/>
                    <a:pt x="2706" y="2066"/>
                    <a:pt x="2723" y="2061"/>
                  </a:cubicBezTo>
                  <a:cubicBezTo>
                    <a:pt x="2741" y="2055"/>
                    <a:pt x="2760" y="2059"/>
                    <a:pt x="2779" y="2056"/>
                  </a:cubicBezTo>
                  <a:cubicBezTo>
                    <a:pt x="2797" y="2053"/>
                    <a:pt x="2821" y="2043"/>
                    <a:pt x="2843" y="2036"/>
                  </a:cubicBezTo>
                  <a:cubicBezTo>
                    <a:pt x="2905" y="2018"/>
                    <a:pt x="2953" y="1999"/>
                    <a:pt x="2995" y="1973"/>
                  </a:cubicBezTo>
                  <a:cubicBezTo>
                    <a:pt x="3007" y="1965"/>
                    <a:pt x="3020" y="1962"/>
                    <a:pt x="3030" y="1956"/>
                  </a:cubicBezTo>
                  <a:cubicBezTo>
                    <a:pt x="3075" y="1926"/>
                    <a:pt x="3109" y="1878"/>
                    <a:pt x="3150" y="1844"/>
                  </a:cubicBezTo>
                  <a:cubicBezTo>
                    <a:pt x="3190" y="1811"/>
                    <a:pt x="3240" y="1792"/>
                    <a:pt x="3279" y="1760"/>
                  </a:cubicBezTo>
                  <a:cubicBezTo>
                    <a:pt x="3298" y="1744"/>
                    <a:pt x="3316" y="1727"/>
                    <a:pt x="3336" y="1712"/>
                  </a:cubicBezTo>
                  <a:cubicBezTo>
                    <a:pt x="3356" y="1696"/>
                    <a:pt x="3382" y="1683"/>
                    <a:pt x="3399" y="1667"/>
                  </a:cubicBezTo>
                  <a:cubicBezTo>
                    <a:pt x="3418" y="1649"/>
                    <a:pt x="3430" y="1621"/>
                    <a:pt x="3448" y="1600"/>
                  </a:cubicBezTo>
                  <a:cubicBezTo>
                    <a:pt x="3446" y="1583"/>
                    <a:pt x="3453" y="1567"/>
                    <a:pt x="3454" y="1549"/>
                  </a:cubicBezTo>
                  <a:cubicBezTo>
                    <a:pt x="3458" y="1500"/>
                    <a:pt x="3442" y="1461"/>
                    <a:pt x="3434" y="1419"/>
                  </a:cubicBezTo>
                  <a:lnTo>
                    <a:pt x="3435" y="1418"/>
                  </a:lnTo>
                  <a:cubicBezTo>
                    <a:pt x="3422" y="1348"/>
                    <a:pt x="3423" y="1277"/>
                    <a:pt x="3415" y="1201"/>
                  </a:cubicBezTo>
                  <a:cubicBezTo>
                    <a:pt x="3406" y="1104"/>
                    <a:pt x="3382" y="1012"/>
                    <a:pt x="3360" y="923"/>
                  </a:cubicBezTo>
                  <a:cubicBezTo>
                    <a:pt x="3350" y="880"/>
                    <a:pt x="3338" y="840"/>
                    <a:pt x="3323" y="800"/>
                  </a:cubicBezTo>
                  <a:cubicBezTo>
                    <a:pt x="3315" y="779"/>
                    <a:pt x="3307" y="759"/>
                    <a:pt x="3300" y="737"/>
                  </a:cubicBezTo>
                  <a:cubicBezTo>
                    <a:pt x="3277" y="658"/>
                    <a:pt x="3273" y="572"/>
                    <a:pt x="3264" y="499"/>
                  </a:cubicBezTo>
                  <a:cubicBezTo>
                    <a:pt x="3261" y="472"/>
                    <a:pt x="3249" y="446"/>
                    <a:pt x="3246" y="420"/>
                  </a:cubicBezTo>
                  <a:cubicBezTo>
                    <a:pt x="3245" y="411"/>
                    <a:pt x="3248" y="400"/>
                    <a:pt x="3248" y="391"/>
                  </a:cubicBezTo>
                  <a:cubicBezTo>
                    <a:pt x="3246" y="360"/>
                    <a:pt x="3228" y="313"/>
                    <a:pt x="3258" y="296"/>
                  </a:cubicBezTo>
                  <a:cubicBezTo>
                    <a:pt x="3249" y="216"/>
                    <a:pt x="3374" y="53"/>
                    <a:pt x="3226" y="37"/>
                  </a:cubicBezTo>
                  <a:cubicBezTo>
                    <a:pt x="3213" y="20"/>
                    <a:pt x="3193" y="9"/>
                    <a:pt x="3172" y="0"/>
                  </a:cubicBezTo>
                  <a:close/>
                  <a:moveTo>
                    <a:pt x="796" y="92"/>
                  </a:moveTo>
                  <a:cubicBezTo>
                    <a:pt x="796" y="92"/>
                    <a:pt x="797" y="92"/>
                    <a:pt x="797" y="92"/>
                  </a:cubicBezTo>
                  <a:cubicBezTo>
                    <a:pt x="797" y="96"/>
                    <a:pt x="798" y="100"/>
                    <a:pt x="800" y="104"/>
                  </a:cubicBezTo>
                  <a:cubicBezTo>
                    <a:pt x="798" y="100"/>
                    <a:pt x="797" y="96"/>
                    <a:pt x="796" y="92"/>
                  </a:cubicBezTo>
                  <a:close/>
                  <a:moveTo>
                    <a:pt x="805" y="113"/>
                  </a:moveTo>
                  <a:cubicBezTo>
                    <a:pt x="809" y="119"/>
                    <a:pt x="813" y="125"/>
                    <a:pt x="813" y="130"/>
                  </a:cubicBezTo>
                  <a:cubicBezTo>
                    <a:pt x="813" y="125"/>
                    <a:pt x="809" y="119"/>
                    <a:pt x="805" y="113"/>
                  </a:cubicBezTo>
                  <a:close/>
                  <a:moveTo>
                    <a:pt x="736" y="327"/>
                  </a:moveTo>
                  <a:cubicBezTo>
                    <a:pt x="728" y="349"/>
                    <a:pt x="722" y="374"/>
                    <a:pt x="712" y="398"/>
                  </a:cubicBezTo>
                  <a:cubicBezTo>
                    <a:pt x="706" y="413"/>
                    <a:pt x="698" y="427"/>
                    <a:pt x="688" y="439"/>
                  </a:cubicBezTo>
                  <a:cubicBezTo>
                    <a:pt x="698" y="427"/>
                    <a:pt x="706" y="413"/>
                    <a:pt x="712" y="398"/>
                  </a:cubicBezTo>
                  <a:cubicBezTo>
                    <a:pt x="722" y="374"/>
                    <a:pt x="728" y="349"/>
                    <a:pt x="736" y="327"/>
                  </a:cubicBezTo>
                  <a:close/>
                  <a:moveTo>
                    <a:pt x="3107" y="422"/>
                  </a:moveTo>
                  <a:cubicBezTo>
                    <a:pt x="3107" y="422"/>
                    <a:pt x="3107" y="422"/>
                    <a:pt x="3108" y="423"/>
                  </a:cubicBezTo>
                  <a:cubicBezTo>
                    <a:pt x="3107" y="424"/>
                    <a:pt x="3105" y="425"/>
                    <a:pt x="3104" y="426"/>
                  </a:cubicBezTo>
                  <a:cubicBezTo>
                    <a:pt x="3106" y="425"/>
                    <a:pt x="3106" y="424"/>
                    <a:pt x="3107" y="422"/>
                  </a:cubicBezTo>
                  <a:close/>
                  <a:moveTo>
                    <a:pt x="3235" y="494"/>
                  </a:moveTo>
                  <a:cubicBezTo>
                    <a:pt x="3237" y="508"/>
                    <a:pt x="3239" y="521"/>
                    <a:pt x="3240" y="536"/>
                  </a:cubicBezTo>
                  <a:cubicBezTo>
                    <a:pt x="3241" y="545"/>
                    <a:pt x="3241" y="555"/>
                    <a:pt x="3242" y="564"/>
                  </a:cubicBezTo>
                  <a:cubicBezTo>
                    <a:pt x="3241" y="555"/>
                    <a:pt x="3240" y="545"/>
                    <a:pt x="3239" y="536"/>
                  </a:cubicBezTo>
                  <a:cubicBezTo>
                    <a:pt x="3238" y="521"/>
                    <a:pt x="3237" y="508"/>
                    <a:pt x="3235" y="494"/>
                  </a:cubicBezTo>
                  <a:close/>
                  <a:moveTo>
                    <a:pt x="611" y="575"/>
                  </a:moveTo>
                  <a:cubicBezTo>
                    <a:pt x="611" y="583"/>
                    <a:pt x="609" y="589"/>
                    <a:pt x="607" y="596"/>
                  </a:cubicBezTo>
                  <a:cubicBezTo>
                    <a:pt x="609" y="589"/>
                    <a:pt x="611" y="583"/>
                    <a:pt x="611" y="575"/>
                  </a:cubicBezTo>
                  <a:close/>
                  <a:moveTo>
                    <a:pt x="2016" y="643"/>
                  </a:moveTo>
                  <a:cubicBezTo>
                    <a:pt x="2021" y="643"/>
                    <a:pt x="2026" y="643"/>
                    <a:pt x="2030" y="644"/>
                  </a:cubicBezTo>
                  <a:cubicBezTo>
                    <a:pt x="2021" y="643"/>
                    <a:pt x="2012" y="643"/>
                    <a:pt x="2003" y="644"/>
                  </a:cubicBezTo>
                  <a:cubicBezTo>
                    <a:pt x="2008" y="644"/>
                    <a:pt x="2012" y="643"/>
                    <a:pt x="2016" y="643"/>
                  </a:cubicBezTo>
                  <a:close/>
                  <a:moveTo>
                    <a:pt x="1901" y="684"/>
                  </a:moveTo>
                  <a:cubicBezTo>
                    <a:pt x="1880" y="695"/>
                    <a:pt x="1859" y="707"/>
                    <a:pt x="1838" y="720"/>
                  </a:cubicBezTo>
                  <a:cubicBezTo>
                    <a:pt x="1859" y="707"/>
                    <a:pt x="1880" y="695"/>
                    <a:pt x="1901" y="684"/>
                  </a:cubicBezTo>
                  <a:close/>
                  <a:moveTo>
                    <a:pt x="2013" y="847"/>
                  </a:moveTo>
                  <a:cubicBezTo>
                    <a:pt x="2013" y="846"/>
                    <a:pt x="2014" y="847"/>
                    <a:pt x="2014" y="847"/>
                  </a:cubicBezTo>
                  <a:cubicBezTo>
                    <a:pt x="2012" y="849"/>
                    <a:pt x="2010" y="853"/>
                    <a:pt x="2009" y="857"/>
                  </a:cubicBezTo>
                  <a:cubicBezTo>
                    <a:pt x="2010" y="853"/>
                    <a:pt x="2011" y="849"/>
                    <a:pt x="2013" y="847"/>
                  </a:cubicBezTo>
                  <a:close/>
                  <a:moveTo>
                    <a:pt x="1955" y="895"/>
                  </a:moveTo>
                  <a:cubicBezTo>
                    <a:pt x="1953" y="902"/>
                    <a:pt x="1948" y="909"/>
                    <a:pt x="1944" y="916"/>
                  </a:cubicBezTo>
                  <a:cubicBezTo>
                    <a:pt x="1948" y="909"/>
                    <a:pt x="1953" y="902"/>
                    <a:pt x="1955" y="895"/>
                  </a:cubicBezTo>
                  <a:close/>
                  <a:moveTo>
                    <a:pt x="1708" y="932"/>
                  </a:moveTo>
                  <a:cubicBezTo>
                    <a:pt x="1703" y="957"/>
                    <a:pt x="1699" y="984"/>
                    <a:pt x="1694" y="1009"/>
                  </a:cubicBezTo>
                  <a:cubicBezTo>
                    <a:pt x="1691" y="1026"/>
                    <a:pt x="1687" y="1041"/>
                    <a:pt x="1680" y="1055"/>
                  </a:cubicBezTo>
                  <a:cubicBezTo>
                    <a:pt x="1687" y="1041"/>
                    <a:pt x="1691" y="1026"/>
                    <a:pt x="1694" y="1009"/>
                  </a:cubicBezTo>
                  <a:cubicBezTo>
                    <a:pt x="1699" y="984"/>
                    <a:pt x="1703" y="957"/>
                    <a:pt x="1708" y="932"/>
                  </a:cubicBezTo>
                  <a:close/>
                  <a:moveTo>
                    <a:pt x="1971" y="974"/>
                  </a:moveTo>
                  <a:cubicBezTo>
                    <a:pt x="1971" y="976"/>
                    <a:pt x="1971" y="978"/>
                    <a:pt x="1971" y="980"/>
                  </a:cubicBezTo>
                  <a:cubicBezTo>
                    <a:pt x="1972" y="983"/>
                    <a:pt x="1973" y="986"/>
                    <a:pt x="1974" y="990"/>
                  </a:cubicBezTo>
                  <a:cubicBezTo>
                    <a:pt x="1973" y="986"/>
                    <a:pt x="1971" y="983"/>
                    <a:pt x="1970" y="980"/>
                  </a:cubicBezTo>
                  <a:cubicBezTo>
                    <a:pt x="1970" y="978"/>
                    <a:pt x="1971" y="976"/>
                    <a:pt x="1971" y="974"/>
                  </a:cubicBezTo>
                  <a:close/>
                  <a:moveTo>
                    <a:pt x="2019" y="978"/>
                  </a:moveTo>
                  <a:cubicBezTo>
                    <a:pt x="2021" y="982"/>
                    <a:pt x="2024" y="986"/>
                    <a:pt x="2026" y="991"/>
                  </a:cubicBezTo>
                  <a:cubicBezTo>
                    <a:pt x="2027" y="994"/>
                    <a:pt x="2027" y="997"/>
                    <a:pt x="2027" y="1000"/>
                  </a:cubicBezTo>
                  <a:cubicBezTo>
                    <a:pt x="2027" y="997"/>
                    <a:pt x="2026" y="994"/>
                    <a:pt x="2025" y="991"/>
                  </a:cubicBezTo>
                  <a:cubicBezTo>
                    <a:pt x="2023" y="986"/>
                    <a:pt x="2021" y="982"/>
                    <a:pt x="2019" y="978"/>
                  </a:cubicBezTo>
                  <a:close/>
                  <a:moveTo>
                    <a:pt x="1879" y="1005"/>
                  </a:moveTo>
                  <a:cubicBezTo>
                    <a:pt x="1883" y="1006"/>
                    <a:pt x="1888" y="1005"/>
                    <a:pt x="1891" y="1007"/>
                  </a:cubicBezTo>
                  <a:cubicBezTo>
                    <a:pt x="1888" y="1005"/>
                    <a:pt x="1883" y="1006"/>
                    <a:pt x="1879" y="1005"/>
                  </a:cubicBezTo>
                  <a:close/>
                  <a:moveTo>
                    <a:pt x="1841" y="1017"/>
                  </a:moveTo>
                  <a:cubicBezTo>
                    <a:pt x="1844" y="1017"/>
                    <a:pt x="1846" y="1017"/>
                    <a:pt x="1848" y="1018"/>
                  </a:cubicBezTo>
                  <a:cubicBezTo>
                    <a:pt x="1846" y="1018"/>
                    <a:pt x="1844" y="1017"/>
                    <a:pt x="1841" y="1017"/>
                  </a:cubicBezTo>
                  <a:close/>
                  <a:moveTo>
                    <a:pt x="2025" y="1021"/>
                  </a:moveTo>
                  <a:cubicBezTo>
                    <a:pt x="2024" y="1024"/>
                    <a:pt x="2021" y="1028"/>
                    <a:pt x="2019" y="1031"/>
                  </a:cubicBezTo>
                  <a:cubicBezTo>
                    <a:pt x="2021" y="1028"/>
                    <a:pt x="2024" y="1024"/>
                    <a:pt x="2025" y="1021"/>
                  </a:cubicBezTo>
                  <a:close/>
                  <a:moveTo>
                    <a:pt x="2053" y="1036"/>
                  </a:moveTo>
                  <a:cubicBezTo>
                    <a:pt x="2050" y="1049"/>
                    <a:pt x="2056" y="1066"/>
                    <a:pt x="2067" y="1075"/>
                  </a:cubicBezTo>
                  <a:cubicBezTo>
                    <a:pt x="2056" y="1066"/>
                    <a:pt x="2050" y="1049"/>
                    <a:pt x="2053" y="1036"/>
                  </a:cubicBezTo>
                  <a:close/>
                  <a:moveTo>
                    <a:pt x="3315" y="1062"/>
                  </a:moveTo>
                  <a:lnTo>
                    <a:pt x="3316" y="1062"/>
                  </a:lnTo>
                  <a:cubicBezTo>
                    <a:pt x="3328" y="1092"/>
                    <a:pt x="3340" y="1123"/>
                    <a:pt x="3349" y="1156"/>
                  </a:cubicBezTo>
                  <a:cubicBezTo>
                    <a:pt x="3340" y="1123"/>
                    <a:pt x="3328" y="1092"/>
                    <a:pt x="3315" y="1062"/>
                  </a:cubicBezTo>
                  <a:close/>
                  <a:moveTo>
                    <a:pt x="2079" y="1081"/>
                  </a:moveTo>
                  <a:lnTo>
                    <a:pt x="2080" y="1081"/>
                  </a:lnTo>
                  <a:lnTo>
                    <a:pt x="2098" y="1104"/>
                  </a:lnTo>
                  <a:lnTo>
                    <a:pt x="2079" y="1081"/>
                  </a:lnTo>
                  <a:close/>
                  <a:moveTo>
                    <a:pt x="1659" y="1092"/>
                  </a:moveTo>
                  <a:cubicBezTo>
                    <a:pt x="1657" y="1093"/>
                    <a:pt x="1655" y="1094"/>
                    <a:pt x="1654" y="1095"/>
                  </a:cubicBezTo>
                  <a:lnTo>
                    <a:pt x="1654" y="1094"/>
                  </a:lnTo>
                  <a:cubicBezTo>
                    <a:pt x="1655" y="1093"/>
                    <a:pt x="1657" y="1093"/>
                    <a:pt x="1659" y="1092"/>
                  </a:cubicBezTo>
                  <a:close/>
                  <a:moveTo>
                    <a:pt x="1949" y="1099"/>
                  </a:moveTo>
                  <a:cubicBezTo>
                    <a:pt x="1949" y="1099"/>
                    <a:pt x="1950" y="1099"/>
                    <a:pt x="1950" y="1099"/>
                  </a:cubicBezTo>
                  <a:cubicBezTo>
                    <a:pt x="1949" y="1100"/>
                    <a:pt x="1950" y="1101"/>
                    <a:pt x="1950" y="1102"/>
                  </a:cubicBezTo>
                  <a:cubicBezTo>
                    <a:pt x="1950" y="1101"/>
                    <a:pt x="1949" y="1100"/>
                    <a:pt x="1949" y="1099"/>
                  </a:cubicBezTo>
                  <a:close/>
                  <a:moveTo>
                    <a:pt x="1872" y="1103"/>
                  </a:moveTo>
                  <a:cubicBezTo>
                    <a:pt x="1864" y="1105"/>
                    <a:pt x="1855" y="1111"/>
                    <a:pt x="1845" y="1115"/>
                  </a:cubicBezTo>
                  <a:cubicBezTo>
                    <a:pt x="1855" y="1111"/>
                    <a:pt x="1864" y="1105"/>
                    <a:pt x="1872" y="1103"/>
                  </a:cubicBezTo>
                  <a:close/>
                  <a:moveTo>
                    <a:pt x="1952" y="1109"/>
                  </a:moveTo>
                  <a:cubicBezTo>
                    <a:pt x="1955" y="1111"/>
                    <a:pt x="1959" y="1112"/>
                    <a:pt x="1963" y="1113"/>
                  </a:cubicBezTo>
                  <a:cubicBezTo>
                    <a:pt x="1959" y="1112"/>
                    <a:pt x="1955" y="1111"/>
                    <a:pt x="1952" y="1109"/>
                  </a:cubicBezTo>
                  <a:close/>
                  <a:moveTo>
                    <a:pt x="3381" y="1179"/>
                  </a:moveTo>
                  <a:cubicBezTo>
                    <a:pt x="3389" y="1248"/>
                    <a:pt x="3393" y="1314"/>
                    <a:pt x="3403" y="1379"/>
                  </a:cubicBezTo>
                  <a:cubicBezTo>
                    <a:pt x="3406" y="1401"/>
                    <a:pt x="3411" y="1423"/>
                    <a:pt x="3415" y="1445"/>
                  </a:cubicBezTo>
                  <a:lnTo>
                    <a:pt x="3414" y="1445"/>
                  </a:lnTo>
                  <a:cubicBezTo>
                    <a:pt x="3410" y="1423"/>
                    <a:pt x="3406" y="1401"/>
                    <a:pt x="3403" y="1379"/>
                  </a:cubicBezTo>
                  <a:cubicBezTo>
                    <a:pt x="3393" y="1314"/>
                    <a:pt x="3388" y="1248"/>
                    <a:pt x="3381" y="1179"/>
                  </a:cubicBezTo>
                  <a:close/>
                  <a:moveTo>
                    <a:pt x="2277" y="1229"/>
                  </a:moveTo>
                  <a:cubicBezTo>
                    <a:pt x="2276" y="1231"/>
                    <a:pt x="2277" y="1234"/>
                    <a:pt x="2278" y="1237"/>
                  </a:cubicBezTo>
                  <a:lnTo>
                    <a:pt x="2277" y="1237"/>
                  </a:lnTo>
                  <a:cubicBezTo>
                    <a:pt x="2276" y="1234"/>
                    <a:pt x="2276" y="1231"/>
                    <a:pt x="2277" y="1229"/>
                  </a:cubicBezTo>
                  <a:close/>
                  <a:moveTo>
                    <a:pt x="2281" y="1290"/>
                  </a:moveTo>
                  <a:cubicBezTo>
                    <a:pt x="2281" y="1290"/>
                    <a:pt x="2281" y="1291"/>
                    <a:pt x="2281" y="1291"/>
                  </a:cubicBezTo>
                  <a:cubicBezTo>
                    <a:pt x="2279" y="1293"/>
                    <a:pt x="2276" y="1294"/>
                    <a:pt x="2273" y="1296"/>
                  </a:cubicBezTo>
                  <a:cubicBezTo>
                    <a:pt x="2266" y="1298"/>
                    <a:pt x="2257" y="1298"/>
                    <a:pt x="2249" y="1296"/>
                  </a:cubicBezTo>
                  <a:cubicBezTo>
                    <a:pt x="2257" y="1298"/>
                    <a:pt x="2266" y="1298"/>
                    <a:pt x="2273" y="1296"/>
                  </a:cubicBezTo>
                  <a:cubicBezTo>
                    <a:pt x="2276" y="1294"/>
                    <a:pt x="2279" y="1293"/>
                    <a:pt x="2281" y="1290"/>
                  </a:cubicBezTo>
                  <a:close/>
                  <a:moveTo>
                    <a:pt x="2205" y="1317"/>
                  </a:moveTo>
                  <a:cubicBezTo>
                    <a:pt x="2204" y="1319"/>
                    <a:pt x="2202" y="1321"/>
                    <a:pt x="2198" y="1320"/>
                  </a:cubicBezTo>
                  <a:lnTo>
                    <a:pt x="2198" y="1319"/>
                  </a:lnTo>
                  <a:cubicBezTo>
                    <a:pt x="2202" y="1320"/>
                    <a:pt x="2204" y="1319"/>
                    <a:pt x="2205" y="1317"/>
                  </a:cubicBezTo>
                  <a:close/>
                  <a:moveTo>
                    <a:pt x="1726" y="1352"/>
                  </a:moveTo>
                  <a:cubicBezTo>
                    <a:pt x="1731" y="1362"/>
                    <a:pt x="1734" y="1374"/>
                    <a:pt x="1734" y="1384"/>
                  </a:cubicBezTo>
                  <a:cubicBezTo>
                    <a:pt x="1734" y="1374"/>
                    <a:pt x="1731" y="1362"/>
                    <a:pt x="1726" y="1352"/>
                  </a:cubicBezTo>
                  <a:close/>
                  <a:moveTo>
                    <a:pt x="1733" y="1400"/>
                  </a:moveTo>
                  <a:cubicBezTo>
                    <a:pt x="1731" y="1416"/>
                    <a:pt x="1725" y="1433"/>
                    <a:pt x="1719" y="1448"/>
                  </a:cubicBezTo>
                  <a:cubicBezTo>
                    <a:pt x="1725" y="1433"/>
                    <a:pt x="1731" y="1416"/>
                    <a:pt x="1733" y="1400"/>
                  </a:cubicBezTo>
                  <a:close/>
                  <a:moveTo>
                    <a:pt x="1820" y="1422"/>
                  </a:moveTo>
                  <a:cubicBezTo>
                    <a:pt x="1819" y="1432"/>
                    <a:pt x="1819" y="1440"/>
                    <a:pt x="1819" y="1447"/>
                  </a:cubicBezTo>
                  <a:cubicBezTo>
                    <a:pt x="1819" y="1447"/>
                    <a:pt x="1819" y="1447"/>
                    <a:pt x="1818" y="1447"/>
                  </a:cubicBezTo>
                  <a:cubicBezTo>
                    <a:pt x="1818" y="1440"/>
                    <a:pt x="1819" y="1432"/>
                    <a:pt x="1820" y="1422"/>
                  </a:cubicBezTo>
                  <a:close/>
                  <a:moveTo>
                    <a:pt x="2119" y="1597"/>
                  </a:moveTo>
                  <a:cubicBezTo>
                    <a:pt x="2118" y="1601"/>
                    <a:pt x="2119" y="1604"/>
                    <a:pt x="2120" y="1606"/>
                  </a:cubicBezTo>
                  <a:cubicBezTo>
                    <a:pt x="2119" y="1604"/>
                    <a:pt x="2118" y="1601"/>
                    <a:pt x="2119" y="1597"/>
                  </a:cubicBezTo>
                  <a:close/>
                  <a:moveTo>
                    <a:pt x="1426" y="1631"/>
                  </a:moveTo>
                  <a:cubicBezTo>
                    <a:pt x="1431" y="1655"/>
                    <a:pt x="1426" y="1677"/>
                    <a:pt x="1417" y="1698"/>
                  </a:cubicBezTo>
                  <a:cubicBezTo>
                    <a:pt x="1426" y="1677"/>
                    <a:pt x="1431" y="1655"/>
                    <a:pt x="1426" y="1631"/>
                  </a:cubicBezTo>
                  <a:close/>
                  <a:moveTo>
                    <a:pt x="1502" y="1670"/>
                  </a:moveTo>
                  <a:cubicBezTo>
                    <a:pt x="1502" y="1681"/>
                    <a:pt x="1499" y="1693"/>
                    <a:pt x="1495" y="1705"/>
                  </a:cubicBezTo>
                  <a:cubicBezTo>
                    <a:pt x="1499" y="1693"/>
                    <a:pt x="1502" y="1681"/>
                    <a:pt x="1502" y="1670"/>
                  </a:cubicBezTo>
                  <a:close/>
                  <a:moveTo>
                    <a:pt x="2250" y="1677"/>
                  </a:moveTo>
                  <a:cubicBezTo>
                    <a:pt x="2255" y="1695"/>
                    <a:pt x="2256" y="1717"/>
                    <a:pt x="2257" y="1739"/>
                  </a:cubicBezTo>
                  <a:cubicBezTo>
                    <a:pt x="2256" y="1717"/>
                    <a:pt x="2255" y="1695"/>
                    <a:pt x="2250" y="1677"/>
                  </a:cubicBezTo>
                  <a:close/>
                  <a:moveTo>
                    <a:pt x="2235" y="1681"/>
                  </a:moveTo>
                  <a:cubicBezTo>
                    <a:pt x="2233" y="1700"/>
                    <a:pt x="2229" y="1720"/>
                    <a:pt x="2225" y="1741"/>
                  </a:cubicBezTo>
                  <a:cubicBezTo>
                    <a:pt x="2229" y="1720"/>
                    <a:pt x="2233" y="1700"/>
                    <a:pt x="2235" y="1681"/>
                  </a:cubicBezTo>
                  <a:close/>
                  <a:moveTo>
                    <a:pt x="1494" y="1717"/>
                  </a:moveTo>
                  <a:cubicBezTo>
                    <a:pt x="1495" y="1719"/>
                    <a:pt x="1495" y="1721"/>
                    <a:pt x="1495" y="1724"/>
                  </a:cubicBezTo>
                  <a:cubicBezTo>
                    <a:pt x="1494" y="1732"/>
                    <a:pt x="1488" y="1743"/>
                    <a:pt x="1487" y="1751"/>
                  </a:cubicBezTo>
                  <a:cubicBezTo>
                    <a:pt x="1488" y="1743"/>
                    <a:pt x="1494" y="1732"/>
                    <a:pt x="1495" y="1724"/>
                  </a:cubicBezTo>
                  <a:cubicBezTo>
                    <a:pt x="1495" y="1721"/>
                    <a:pt x="1494" y="1720"/>
                    <a:pt x="1493" y="1718"/>
                  </a:cubicBezTo>
                  <a:cubicBezTo>
                    <a:pt x="1493" y="1718"/>
                    <a:pt x="1494" y="1717"/>
                    <a:pt x="1494" y="1717"/>
                  </a:cubicBezTo>
                  <a:close/>
                  <a:moveTo>
                    <a:pt x="2437" y="1805"/>
                  </a:moveTo>
                  <a:cubicBezTo>
                    <a:pt x="2460" y="1836"/>
                    <a:pt x="2486" y="1866"/>
                    <a:pt x="2514" y="1897"/>
                  </a:cubicBezTo>
                  <a:cubicBezTo>
                    <a:pt x="2486" y="1866"/>
                    <a:pt x="2460" y="1836"/>
                    <a:pt x="2437" y="1805"/>
                  </a:cubicBezTo>
                  <a:close/>
                  <a:moveTo>
                    <a:pt x="2546" y="1997"/>
                  </a:moveTo>
                  <a:cubicBezTo>
                    <a:pt x="2557" y="2009"/>
                    <a:pt x="2570" y="2019"/>
                    <a:pt x="2584" y="2029"/>
                  </a:cubicBezTo>
                  <a:cubicBezTo>
                    <a:pt x="2598" y="2038"/>
                    <a:pt x="2613" y="2045"/>
                    <a:pt x="2630" y="2050"/>
                  </a:cubicBezTo>
                  <a:cubicBezTo>
                    <a:pt x="2613" y="2045"/>
                    <a:pt x="2598" y="2038"/>
                    <a:pt x="2584" y="2029"/>
                  </a:cubicBezTo>
                  <a:cubicBezTo>
                    <a:pt x="2570" y="2019"/>
                    <a:pt x="2557" y="2009"/>
                    <a:pt x="2546" y="1997"/>
                  </a:cubicBezTo>
                  <a:close/>
                  <a:moveTo>
                    <a:pt x="1055" y="2009"/>
                  </a:moveTo>
                  <a:cubicBezTo>
                    <a:pt x="1045" y="2011"/>
                    <a:pt x="1033" y="2015"/>
                    <a:pt x="1021" y="2019"/>
                  </a:cubicBezTo>
                  <a:cubicBezTo>
                    <a:pt x="1033" y="2014"/>
                    <a:pt x="1045" y="2010"/>
                    <a:pt x="1055" y="2009"/>
                  </a:cubicBezTo>
                  <a:close/>
                  <a:moveTo>
                    <a:pt x="2801" y="2022"/>
                  </a:moveTo>
                  <a:cubicBezTo>
                    <a:pt x="2790" y="2024"/>
                    <a:pt x="2780" y="2027"/>
                    <a:pt x="2770" y="2029"/>
                  </a:cubicBezTo>
                  <a:cubicBezTo>
                    <a:pt x="2761" y="2030"/>
                    <a:pt x="2752" y="2031"/>
                    <a:pt x="2742" y="2033"/>
                  </a:cubicBezTo>
                  <a:cubicBezTo>
                    <a:pt x="2752" y="2031"/>
                    <a:pt x="2761" y="2029"/>
                    <a:pt x="2770" y="2028"/>
                  </a:cubicBezTo>
                  <a:cubicBezTo>
                    <a:pt x="2780" y="2026"/>
                    <a:pt x="2790" y="2024"/>
                    <a:pt x="2801" y="2022"/>
                  </a:cubicBezTo>
                  <a:close/>
                  <a:moveTo>
                    <a:pt x="2650" y="2071"/>
                  </a:moveTo>
                  <a:lnTo>
                    <a:pt x="2651" y="2071"/>
                  </a:lnTo>
                  <a:cubicBezTo>
                    <a:pt x="2647" y="2079"/>
                    <a:pt x="2642" y="2085"/>
                    <a:pt x="2637" y="2093"/>
                  </a:cubicBezTo>
                  <a:cubicBezTo>
                    <a:pt x="2642" y="2086"/>
                    <a:pt x="2646" y="2078"/>
                    <a:pt x="2650" y="2071"/>
                  </a:cubicBezTo>
                  <a:close/>
                  <a:moveTo>
                    <a:pt x="1102" y="2122"/>
                  </a:moveTo>
                  <a:cubicBezTo>
                    <a:pt x="1102" y="2122"/>
                    <a:pt x="1103" y="2122"/>
                    <a:pt x="1103" y="2122"/>
                  </a:cubicBezTo>
                  <a:cubicBezTo>
                    <a:pt x="1094" y="2130"/>
                    <a:pt x="1086" y="2139"/>
                    <a:pt x="1079" y="2148"/>
                  </a:cubicBezTo>
                  <a:cubicBezTo>
                    <a:pt x="1086" y="2139"/>
                    <a:pt x="1094" y="2130"/>
                    <a:pt x="1102" y="2122"/>
                  </a:cubicBezTo>
                  <a:close/>
                  <a:moveTo>
                    <a:pt x="2587" y="2209"/>
                  </a:moveTo>
                  <a:cubicBezTo>
                    <a:pt x="2586" y="2214"/>
                    <a:pt x="2586" y="2220"/>
                    <a:pt x="2584" y="2225"/>
                  </a:cubicBezTo>
                  <a:cubicBezTo>
                    <a:pt x="2582" y="2235"/>
                    <a:pt x="2578" y="2245"/>
                    <a:pt x="2573" y="2256"/>
                  </a:cubicBezTo>
                  <a:cubicBezTo>
                    <a:pt x="2578" y="2245"/>
                    <a:pt x="2581" y="2235"/>
                    <a:pt x="2584" y="2225"/>
                  </a:cubicBezTo>
                  <a:cubicBezTo>
                    <a:pt x="2585" y="2220"/>
                    <a:pt x="2586" y="2214"/>
                    <a:pt x="2587" y="2209"/>
                  </a:cubicBezTo>
                  <a:close/>
                  <a:moveTo>
                    <a:pt x="2544" y="2318"/>
                  </a:moveTo>
                  <a:cubicBezTo>
                    <a:pt x="2539" y="2328"/>
                    <a:pt x="2535" y="2337"/>
                    <a:pt x="2532" y="2346"/>
                  </a:cubicBezTo>
                  <a:cubicBezTo>
                    <a:pt x="2531" y="2348"/>
                    <a:pt x="2530" y="2350"/>
                    <a:pt x="2530" y="2352"/>
                  </a:cubicBezTo>
                  <a:cubicBezTo>
                    <a:pt x="2530" y="2350"/>
                    <a:pt x="2530" y="2348"/>
                    <a:pt x="2531" y="2346"/>
                  </a:cubicBezTo>
                  <a:cubicBezTo>
                    <a:pt x="2535" y="2337"/>
                    <a:pt x="2539" y="2328"/>
                    <a:pt x="2544" y="2318"/>
                  </a:cubicBezTo>
                  <a:close/>
                  <a:moveTo>
                    <a:pt x="2498" y="2548"/>
                  </a:moveTo>
                  <a:cubicBezTo>
                    <a:pt x="2498" y="2551"/>
                    <a:pt x="2499" y="2554"/>
                    <a:pt x="2500" y="2556"/>
                  </a:cubicBezTo>
                  <a:cubicBezTo>
                    <a:pt x="2495" y="2572"/>
                    <a:pt x="2491" y="2588"/>
                    <a:pt x="2487" y="2605"/>
                  </a:cubicBezTo>
                  <a:cubicBezTo>
                    <a:pt x="2491" y="2588"/>
                    <a:pt x="2494" y="2572"/>
                    <a:pt x="2499" y="2556"/>
                  </a:cubicBezTo>
                  <a:cubicBezTo>
                    <a:pt x="2498" y="2554"/>
                    <a:pt x="2498" y="2551"/>
                    <a:pt x="2498" y="2548"/>
                  </a:cubicBezTo>
                  <a:close/>
                  <a:moveTo>
                    <a:pt x="2480" y="3042"/>
                  </a:moveTo>
                  <a:cubicBezTo>
                    <a:pt x="2486" y="3082"/>
                    <a:pt x="2488" y="3124"/>
                    <a:pt x="2489" y="3165"/>
                  </a:cubicBezTo>
                  <a:cubicBezTo>
                    <a:pt x="2488" y="3124"/>
                    <a:pt x="2486" y="3082"/>
                    <a:pt x="2480" y="3042"/>
                  </a:cubicBezTo>
                  <a:close/>
                  <a:moveTo>
                    <a:pt x="2516" y="3690"/>
                  </a:moveTo>
                  <a:cubicBezTo>
                    <a:pt x="2519" y="3707"/>
                    <a:pt x="2522" y="3723"/>
                    <a:pt x="2528" y="3737"/>
                  </a:cubicBezTo>
                  <a:cubicBezTo>
                    <a:pt x="2530" y="3741"/>
                    <a:pt x="2533" y="3745"/>
                    <a:pt x="2535" y="3750"/>
                  </a:cubicBezTo>
                  <a:cubicBezTo>
                    <a:pt x="2534" y="3754"/>
                    <a:pt x="2531" y="3760"/>
                    <a:pt x="2529" y="3764"/>
                  </a:cubicBezTo>
                  <a:cubicBezTo>
                    <a:pt x="2531" y="3760"/>
                    <a:pt x="2533" y="3754"/>
                    <a:pt x="2534" y="3750"/>
                  </a:cubicBezTo>
                  <a:cubicBezTo>
                    <a:pt x="2532" y="3745"/>
                    <a:pt x="2530" y="3741"/>
                    <a:pt x="2528" y="3737"/>
                  </a:cubicBezTo>
                  <a:cubicBezTo>
                    <a:pt x="2522" y="3723"/>
                    <a:pt x="2519" y="3707"/>
                    <a:pt x="2516" y="3690"/>
                  </a:cubicBezTo>
                  <a:close/>
                  <a:moveTo>
                    <a:pt x="1683" y="3800"/>
                  </a:moveTo>
                  <a:cubicBezTo>
                    <a:pt x="1689" y="3801"/>
                    <a:pt x="1696" y="3802"/>
                    <a:pt x="1704" y="3803"/>
                  </a:cubicBezTo>
                  <a:cubicBezTo>
                    <a:pt x="1696" y="3802"/>
                    <a:pt x="1689" y="3802"/>
                    <a:pt x="1684" y="3801"/>
                  </a:cubicBezTo>
                  <a:cubicBezTo>
                    <a:pt x="1681" y="3800"/>
                    <a:pt x="1680" y="3801"/>
                    <a:pt x="1679" y="3801"/>
                  </a:cubicBezTo>
                  <a:cubicBezTo>
                    <a:pt x="1678" y="3802"/>
                    <a:pt x="1676" y="3803"/>
                    <a:pt x="1676" y="3805"/>
                  </a:cubicBezTo>
                  <a:cubicBezTo>
                    <a:pt x="1676" y="3803"/>
                    <a:pt x="1677" y="3802"/>
                    <a:pt x="1679" y="3801"/>
                  </a:cubicBezTo>
                  <a:cubicBezTo>
                    <a:pt x="1680" y="3801"/>
                    <a:pt x="1681" y="3799"/>
                    <a:pt x="1683" y="3800"/>
                  </a:cubicBezTo>
                  <a:close/>
                  <a:moveTo>
                    <a:pt x="2230" y="3822"/>
                  </a:moveTo>
                  <a:cubicBezTo>
                    <a:pt x="2225" y="3823"/>
                    <a:pt x="2221" y="3825"/>
                    <a:pt x="2216" y="3827"/>
                  </a:cubicBezTo>
                  <a:cubicBezTo>
                    <a:pt x="2201" y="3825"/>
                    <a:pt x="2188" y="3823"/>
                    <a:pt x="2175" y="3823"/>
                  </a:cubicBezTo>
                  <a:cubicBezTo>
                    <a:pt x="2188" y="3823"/>
                    <a:pt x="2201" y="3824"/>
                    <a:pt x="2216" y="3826"/>
                  </a:cubicBezTo>
                  <a:cubicBezTo>
                    <a:pt x="2221" y="3824"/>
                    <a:pt x="2225" y="3823"/>
                    <a:pt x="2230" y="3822"/>
                  </a:cubicBezTo>
                  <a:close/>
                  <a:moveTo>
                    <a:pt x="1156" y="3830"/>
                  </a:moveTo>
                  <a:cubicBezTo>
                    <a:pt x="1189" y="3834"/>
                    <a:pt x="1223" y="3836"/>
                    <a:pt x="1256" y="3835"/>
                  </a:cubicBezTo>
                  <a:cubicBezTo>
                    <a:pt x="1223" y="3836"/>
                    <a:pt x="1189" y="3834"/>
                    <a:pt x="1156" y="3830"/>
                  </a:cubicBezTo>
                  <a:close/>
                  <a:moveTo>
                    <a:pt x="2452" y="3840"/>
                  </a:moveTo>
                  <a:cubicBezTo>
                    <a:pt x="2453" y="3854"/>
                    <a:pt x="2451" y="3869"/>
                    <a:pt x="2451" y="3882"/>
                  </a:cubicBezTo>
                  <a:cubicBezTo>
                    <a:pt x="2451" y="3869"/>
                    <a:pt x="2453" y="3854"/>
                    <a:pt x="2452" y="3840"/>
                  </a:cubicBezTo>
                  <a:close/>
                  <a:moveTo>
                    <a:pt x="1248" y="3852"/>
                  </a:moveTo>
                  <a:cubicBezTo>
                    <a:pt x="1248" y="3853"/>
                    <a:pt x="1248" y="3853"/>
                    <a:pt x="1248" y="3853"/>
                  </a:cubicBezTo>
                  <a:cubicBezTo>
                    <a:pt x="1236" y="3856"/>
                    <a:pt x="1228" y="3856"/>
                    <a:pt x="1218" y="3856"/>
                  </a:cubicBezTo>
                  <a:cubicBezTo>
                    <a:pt x="1209" y="3856"/>
                    <a:pt x="1200" y="3855"/>
                    <a:pt x="1186" y="3858"/>
                  </a:cubicBezTo>
                  <a:cubicBezTo>
                    <a:pt x="1200" y="3855"/>
                    <a:pt x="1209" y="3856"/>
                    <a:pt x="1218" y="3856"/>
                  </a:cubicBezTo>
                  <a:cubicBezTo>
                    <a:pt x="1228" y="3856"/>
                    <a:pt x="1236" y="3856"/>
                    <a:pt x="1248" y="3852"/>
                  </a:cubicBezTo>
                  <a:close/>
                  <a:moveTo>
                    <a:pt x="1715" y="3855"/>
                  </a:moveTo>
                  <a:cubicBezTo>
                    <a:pt x="1718" y="3854"/>
                    <a:pt x="1721" y="3854"/>
                    <a:pt x="1723" y="3855"/>
                  </a:cubicBezTo>
                  <a:cubicBezTo>
                    <a:pt x="1718" y="3854"/>
                    <a:pt x="1711" y="3857"/>
                    <a:pt x="1706" y="3857"/>
                  </a:cubicBezTo>
                  <a:cubicBezTo>
                    <a:pt x="1709" y="3857"/>
                    <a:pt x="1712" y="3856"/>
                    <a:pt x="1715" y="3855"/>
                  </a:cubicBezTo>
                  <a:close/>
                  <a:moveTo>
                    <a:pt x="1321" y="3892"/>
                  </a:moveTo>
                  <a:cubicBezTo>
                    <a:pt x="1334" y="3897"/>
                    <a:pt x="1349" y="3899"/>
                    <a:pt x="1364" y="3902"/>
                  </a:cubicBezTo>
                  <a:cubicBezTo>
                    <a:pt x="1372" y="3903"/>
                    <a:pt x="1380" y="3903"/>
                    <a:pt x="1388" y="3904"/>
                  </a:cubicBezTo>
                  <a:cubicBezTo>
                    <a:pt x="1408" y="3906"/>
                    <a:pt x="1429" y="3909"/>
                    <a:pt x="1449" y="3911"/>
                  </a:cubicBezTo>
                  <a:cubicBezTo>
                    <a:pt x="1429" y="3909"/>
                    <a:pt x="1408" y="3907"/>
                    <a:pt x="1388" y="3905"/>
                  </a:cubicBezTo>
                  <a:cubicBezTo>
                    <a:pt x="1380" y="3904"/>
                    <a:pt x="1372" y="3903"/>
                    <a:pt x="1364" y="3902"/>
                  </a:cubicBezTo>
                  <a:cubicBezTo>
                    <a:pt x="1349" y="3899"/>
                    <a:pt x="1334" y="3897"/>
                    <a:pt x="1321" y="3892"/>
                  </a:cubicBezTo>
                  <a:close/>
                  <a:moveTo>
                    <a:pt x="1673" y="3904"/>
                  </a:moveTo>
                  <a:cubicBezTo>
                    <a:pt x="1675" y="3914"/>
                    <a:pt x="1675" y="3924"/>
                    <a:pt x="1674" y="3934"/>
                  </a:cubicBezTo>
                  <a:cubicBezTo>
                    <a:pt x="1675" y="3924"/>
                    <a:pt x="1675" y="3914"/>
                    <a:pt x="1673" y="3904"/>
                  </a:cubicBezTo>
                  <a:close/>
                  <a:moveTo>
                    <a:pt x="2112" y="3909"/>
                  </a:moveTo>
                  <a:lnTo>
                    <a:pt x="2113" y="3909"/>
                  </a:lnTo>
                  <a:cubicBezTo>
                    <a:pt x="2113" y="3918"/>
                    <a:pt x="2114" y="3926"/>
                    <a:pt x="2113" y="3934"/>
                  </a:cubicBezTo>
                  <a:cubicBezTo>
                    <a:pt x="2114" y="3926"/>
                    <a:pt x="2113" y="3918"/>
                    <a:pt x="2112" y="3909"/>
                  </a:cubicBezTo>
                  <a:close/>
                  <a:moveTo>
                    <a:pt x="1806" y="3923"/>
                  </a:moveTo>
                  <a:cubicBezTo>
                    <a:pt x="1806" y="3937"/>
                    <a:pt x="1806" y="3951"/>
                    <a:pt x="1806" y="3964"/>
                  </a:cubicBezTo>
                  <a:cubicBezTo>
                    <a:pt x="1806" y="3951"/>
                    <a:pt x="1806" y="3937"/>
                    <a:pt x="1806" y="3923"/>
                  </a:cubicBezTo>
                  <a:close/>
                  <a:moveTo>
                    <a:pt x="1708" y="3925"/>
                  </a:moveTo>
                  <a:cubicBezTo>
                    <a:pt x="1710" y="3927"/>
                    <a:pt x="1712" y="3929"/>
                    <a:pt x="1715" y="3930"/>
                  </a:cubicBezTo>
                  <a:cubicBezTo>
                    <a:pt x="1712" y="3929"/>
                    <a:pt x="1710" y="3927"/>
                    <a:pt x="1708" y="3925"/>
                  </a:cubicBezTo>
                  <a:close/>
                  <a:moveTo>
                    <a:pt x="1581" y="3929"/>
                  </a:moveTo>
                  <a:cubicBezTo>
                    <a:pt x="1582" y="3930"/>
                    <a:pt x="1583" y="3930"/>
                    <a:pt x="1584" y="3931"/>
                  </a:cubicBezTo>
                  <a:cubicBezTo>
                    <a:pt x="1583" y="3930"/>
                    <a:pt x="1582" y="3930"/>
                    <a:pt x="1581" y="3929"/>
                  </a:cubicBezTo>
                  <a:close/>
                  <a:moveTo>
                    <a:pt x="2110" y="3947"/>
                  </a:moveTo>
                  <a:cubicBezTo>
                    <a:pt x="2109" y="3950"/>
                    <a:pt x="2107" y="3953"/>
                    <a:pt x="2105" y="3955"/>
                  </a:cubicBezTo>
                  <a:cubicBezTo>
                    <a:pt x="2103" y="3958"/>
                    <a:pt x="2101" y="3960"/>
                    <a:pt x="2097" y="3962"/>
                  </a:cubicBezTo>
                  <a:cubicBezTo>
                    <a:pt x="2101" y="3960"/>
                    <a:pt x="2103" y="3958"/>
                    <a:pt x="2105" y="3955"/>
                  </a:cubicBezTo>
                  <a:cubicBezTo>
                    <a:pt x="2107" y="3953"/>
                    <a:pt x="2109" y="3950"/>
                    <a:pt x="2110" y="3947"/>
                  </a:cubicBezTo>
                  <a:close/>
                  <a:moveTo>
                    <a:pt x="2081" y="3959"/>
                  </a:moveTo>
                  <a:cubicBezTo>
                    <a:pt x="2081" y="3959"/>
                    <a:pt x="2082" y="3959"/>
                    <a:pt x="2082" y="3959"/>
                  </a:cubicBezTo>
                  <a:cubicBezTo>
                    <a:pt x="2081" y="3961"/>
                    <a:pt x="2080" y="3962"/>
                    <a:pt x="2079" y="3964"/>
                  </a:cubicBezTo>
                  <a:cubicBezTo>
                    <a:pt x="2079" y="3965"/>
                    <a:pt x="2079" y="3967"/>
                    <a:pt x="2079" y="3969"/>
                  </a:cubicBezTo>
                  <a:lnTo>
                    <a:pt x="2078" y="3969"/>
                  </a:lnTo>
                  <a:cubicBezTo>
                    <a:pt x="2078" y="3967"/>
                    <a:pt x="2079" y="3965"/>
                    <a:pt x="2079" y="3964"/>
                  </a:cubicBezTo>
                  <a:cubicBezTo>
                    <a:pt x="2080" y="3962"/>
                    <a:pt x="2080" y="3961"/>
                    <a:pt x="2081" y="3959"/>
                  </a:cubicBezTo>
                  <a:close/>
                  <a:moveTo>
                    <a:pt x="1688" y="4007"/>
                  </a:moveTo>
                  <a:cubicBezTo>
                    <a:pt x="1693" y="4011"/>
                    <a:pt x="1703" y="4013"/>
                    <a:pt x="1713" y="4015"/>
                  </a:cubicBezTo>
                  <a:cubicBezTo>
                    <a:pt x="1703" y="4013"/>
                    <a:pt x="1693" y="4012"/>
                    <a:pt x="1688" y="4007"/>
                  </a:cubicBezTo>
                  <a:close/>
                  <a:moveTo>
                    <a:pt x="1821" y="4019"/>
                  </a:moveTo>
                  <a:lnTo>
                    <a:pt x="1822" y="4019"/>
                  </a:lnTo>
                  <a:cubicBezTo>
                    <a:pt x="1808" y="4075"/>
                    <a:pt x="1815" y="4136"/>
                    <a:pt x="1814" y="4194"/>
                  </a:cubicBezTo>
                  <a:cubicBezTo>
                    <a:pt x="1815" y="4136"/>
                    <a:pt x="1808" y="4074"/>
                    <a:pt x="1821" y="4019"/>
                  </a:cubicBezTo>
                  <a:close/>
                  <a:moveTo>
                    <a:pt x="1597" y="4529"/>
                  </a:moveTo>
                  <a:cubicBezTo>
                    <a:pt x="1609" y="4530"/>
                    <a:pt x="1622" y="4530"/>
                    <a:pt x="1632" y="4533"/>
                  </a:cubicBezTo>
                  <a:cubicBezTo>
                    <a:pt x="1636" y="4534"/>
                    <a:pt x="1638" y="4536"/>
                    <a:pt x="1641" y="4538"/>
                  </a:cubicBezTo>
                  <a:cubicBezTo>
                    <a:pt x="1638" y="4536"/>
                    <a:pt x="1635" y="4534"/>
                    <a:pt x="1632" y="4533"/>
                  </a:cubicBezTo>
                  <a:cubicBezTo>
                    <a:pt x="1622" y="4529"/>
                    <a:pt x="1609" y="4530"/>
                    <a:pt x="1597" y="4529"/>
                  </a:cubicBezTo>
                  <a:close/>
                  <a:moveTo>
                    <a:pt x="1920" y="4541"/>
                  </a:moveTo>
                  <a:cubicBezTo>
                    <a:pt x="1920" y="4541"/>
                    <a:pt x="1920" y="4540"/>
                    <a:pt x="1920" y="4541"/>
                  </a:cubicBezTo>
                  <a:cubicBezTo>
                    <a:pt x="1931" y="4558"/>
                    <a:pt x="1940" y="4575"/>
                    <a:pt x="1951" y="4593"/>
                  </a:cubicBezTo>
                  <a:cubicBezTo>
                    <a:pt x="1940" y="4575"/>
                    <a:pt x="1930" y="4558"/>
                    <a:pt x="1920" y="4541"/>
                  </a:cubicBezTo>
                  <a:close/>
                  <a:moveTo>
                    <a:pt x="2034" y="4635"/>
                  </a:moveTo>
                  <a:cubicBezTo>
                    <a:pt x="2034" y="4638"/>
                    <a:pt x="2034" y="4642"/>
                    <a:pt x="2034" y="4645"/>
                  </a:cubicBezTo>
                  <a:lnTo>
                    <a:pt x="2034" y="4645"/>
                  </a:lnTo>
                  <a:lnTo>
                    <a:pt x="2034" y="4635"/>
                  </a:lnTo>
                  <a:close/>
                  <a:moveTo>
                    <a:pt x="2054" y="4828"/>
                  </a:moveTo>
                  <a:cubicBezTo>
                    <a:pt x="2072" y="4862"/>
                    <a:pt x="2094" y="4894"/>
                    <a:pt x="2102" y="4931"/>
                  </a:cubicBezTo>
                  <a:cubicBezTo>
                    <a:pt x="2107" y="4954"/>
                    <a:pt x="2108" y="4974"/>
                    <a:pt x="2120" y="4994"/>
                  </a:cubicBezTo>
                  <a:cubicBezTo>
                    <a:pt x="2119" y="4999"/>
                    <a:pt x="2119" y="5004"/>
                    <a:pt x="2119" y="5009"/>
                  </a:cubicBezTo>
                  <a:cubicBezTo>
                    <a:pt x="2120" y="5023"/>
                    <a:pt x="2126" y="5037"/>
                    <a:pt x="2129" y="5048"/>
                  </a:cubicBezTo>
                  <a:cubicBezTo>
                    <a:pt x="2132" y="5058"/>
                    <a:pt x="2134" y="5067"/>
                    <a:pt x="2136" y="5078"/>
                  </a:cubicBezTo>
                  <a:cubicBezTo>
                    <a:pt x="2134" y="5067"/>
                    <a:pt x="2131" y="5058"/>
                    <a:pt x="2128" y="5048"/>
                  </a:cubicBezTo>
                  <a:cubicBezTo>
                    <a:pt x="2125" y="5037"/>
                    <a:pt x="2120" y="5023"/>
                    <a:pt x="2119" y="5009"/>
                  </a:cubicBezTo>
                  <a:cubicBezTo>
                    <a:pt x="2119" y="5004"/>
                    <a:pt x="2118" y="4999"/>
                    <a:pt x="2119" y="4994"/>
                  </a:cubicBezTo>
                  <a:cubicBezTo>
                    <a:pt x="2107" y="4974"/>
                    <a:pt x="2107" y="4954"/>
                    <a:pt x="2102" y="4931"/>
                  </a:cubicBezTo>
                  <a:cubicBezTo>
                    <a:pt x="2094" y="4894"/>
                    <a:pt x="2072" y="4862"/>
                    <a:pt x="2054" y="4828"/>
                  </a:cubicBezTo>
                  <a:close/>
                  <a:moveTo>
                    <a:pt x="1093" y="4851"/>
                  </a:moveTo>
                  <a:cubicBezTo>
                    <a:pt x="1091" y="4872"/>
                    <a:pt x="1089" y="4894"/>
                    <a:pt x="1089" y="4916"/>
                  </a:cubicBezTo>
                  <a:cubicBezTo>
                    <a:pt x="1089" y="4894"/>
                    <a:pt x="1090" y="4872"/>
                    <a:pt x="1093" y="4851"/>
                  </a:cubicBezTo>
                  <a:close/>
                  <a:moveTo>
                    <a:pt x="2730" y="4966"/>
                  </a:moveTo>
                  <a:lnTo>
                    <a:pt x="2730" y="4967"/>
                  </a:lnTo>
                  <a:cubicBezTo>
                    <a:pt x="2732" y="4978"/>
                    <a:pt x="2723" y="4978"/>
                    <a:pt x="2723" y="4988"/>
                  </a:cubicBezTo>
                  <a:cubicBezTo>
                    <a:pt x="2722" y="4977"/>
                    <a:pt x="2731" y="4977"/>
                    <a:pt x="2730" y="4966"/>
                  </a:cubicBezTo>
                  <a:close/>
                  <a:moveTo>
                    <a:pt x="1088" y="5415"/>
                  </a:moveTo>
                  <a:cubicBezTo>
                    <a:pt x="1090" y="5449"/>
                    <a:pt x="1093" y="5483"/>
                    <a:pt x="1096" y="5517"/>
                  </a:cubicBezTo>
                  <a:cubicBezTo>
                    <a:pt x="1096" y="5518"/>
                    <a:pt x="1097" y="5519"/>
                    <a:pt x="1098" y="5519"/>
                  </a:cubicBezTo>
                  <a:cubicBezTo>
                    <a:pt x="1097" y="5519"/>
                    <a:pt x="1095" y="5519"/>
                    <a:pt x="1095" y="5518"/>
                  </a:cubicBezTo>
                  <a:cubicBezTo>
                    <a:pt x="1092" y="5483"/>
                    <a:pt x="1090" y="5449"/>
                    <a:pt x="1088" y="5415"/>
                  </a:cubicBezTo>
                  <a:close/>
                  <a:moveTo>
                    <a:pt x="2256" y="5568"/>
                  </a:moveTo>
                  <a:cubicBezTo>
                    <a:pt x="2252" y="5583"/>
                    <a:pt x="2245" y="5598"/>
                    <a:pt x="2239" y="5613"/>
                  </a:cubicBezTo>
                  <a:cubicBezTo>
                    <a:pt x="2245" y="5598"/>
                    <a:pt x="2252" y="5583"/>
                    <a:pt x="2256" y="5568"/>
                  </a:cubicBezTo>
                  <a:close/>
                  <a:moveTo>
                    <a:pt x="2221" y="5571"/>
                  </a:moveTo>
                  <a:cubicBezTo>
                    <a:pt x="2224" y="5588"/>
                    <a:pt x="2226" y="5605"/>
                    <a:pt x="2227" y="5621"/>
                  </a:cubicBezTo>
                  <a:cubicBezTo>
                    <a:pt x="2226" y="5605"/>
                    <a:pt x="2224" y="5588"/>
                    <a:pt x="2221" y="5571"/>
                  </a:cubicBezTo>
                  <a:close/>
                  <a:moveTo>
                    <a:pt x="1201" y="5610"/>
                  </a:moveTo>
                  <a:cubicBezTo>
                    <a:pt x="1201" y="5631"/>
                    <a:pt x="1198" y="5652"/>
                    <a:pt x="1194" y="5673"/>
                  </a:cubicBezTo>
                  <a:cubicBezTo>
                    <a:pt x="1198" y="5652"/>
                    <a:pt x="1201" y="5631"/>
                    <a:pt x="1201" y="5610"/>
                  </a:cubicBezTo>
                  <a:close/>
                  <a:moveTo>
                    <a:pt x="2232" y="5636"/>
                  </a:moveTo>
                  <a:cubicBezTo>
                    <a:pt x="2230" y="5647"/>
                    <a:pt x="2233" y="5660"/>
                    <a:pt x="2231" y="5672"/>
                  </a:cubicBezTo>
                  <a:cubicBezTo>
                    <a:pt x="2225" y="5709"/>
                    <a:pt x="2216" y="5750"/>
                    <a:pt x="2206" y="5791"/>
                  </a:cubicBezTo>
                  <a:cubicBezTo>
                    <a:pt x="2216" y="5750"/>
                    <a:pt x="2225" y="5709"/>
                    <a:pt x="2231" y="5672"/>
                  </a:cubicBezTo>
                  <a:cubicBezTo>
                    <a:pt x="2233" y="5660"/>
                    <a:pt x="2230" y="5647"/>
                    <a:pt x="2232" y="5636"/>
                  </a:cubicBezTo>
                  <a:close/>
                  <a:moveTo>
                    <a:pt x="2595" y="5794"/>
                  </a:moveTo>
                  <a:cubicBezTo>
                    <a:pt x="2602" y="5796"/>
                    <a:pt x="2609" y="5800"/>
                    <a:pt x="2614" y="5804"/>
                  </a:cubicBezTo>
                  <a:cubicBezTo>
                    <a:pt x="2618" y="5808"/>
                    <a:pt x="2621" y="5813"/>
                    <a:pt x="2619" y="5819"/>
                  </a:cubicBezTo>
                  <a:cubicBezTo>
                    <a:pt x="2621" y="5813"/>
                    <a:pt x="2618" y="5808"/>
                    <a:pt x="2614" y="5804"/>
                  </a:cubicBezTo>
                  <a:cubicBezTo>
                    <a:pt x="2609" y="5800"/>
                    <a:pt x="2602" y="5796"/>
                    <a:pt x="2595" y="5794"/>
                  </a:cubicBezTo>
                  <a:close/>
                  <a:moveTo>
                    <a:pt x="2277" y="5825"/>
                  </a:moveTo>
                  <a:cubicBezTo>
                    <a:pt x="2281" y="5855"/>
                    <a:pt x="2281" y="5882"/>
                    <a:pt x="2280" y="5909"/>
                  </a:cubicBezTo>
                  <a:cubicBezTo>
                    <a:pt x="2281" y="5882"/>
                    <a:pt x="2281" y="5855"/>
                    <a:pt x="2277" y="5825"/>
                  </a:cubicBezTo>
                  <a:close/>
                  <a:moveTo>
                    <a:pt x="1168" y="5860"/>
                  </a:moveTo>
                  <a:cubicBezTo>
                    <a:pt x="1170" y="5875"/>
                    <a:pt x="1174" y="5889"/>
                    <a:pt x="1178" y="5903"/>
                  </a:cubicBezTo>
                  <a:cubicBezTo>
                    <a:pt x="1174" y="5889"/>
                    <a:pt x="1170" y="5875"/>
                    <a:pt x="1168" y="5860"/>
                  </a:cubicBezTo>
                  <a:close/>
                  <a:moveTo>
                    <a:pt x="2279" y="5952"/>
                  </a:moveTo>
                  <a:cubicBezTo>
                    <a:pt x="2278" y="5966"/>
                    <a:pt x="2278" y="5980"/>
                    <a:pt x="2278" y="5996"/>
                  </a:cubicBezTo>
                  <a:cubicBezTo>
                    <a:pt x="2278" y="6008"/>
                    <a:pt x="2278" y="6018"/>
                    <a:pt x="2279" y="6028"/>
                  </a:cubicBezTo>
                  <a:cubicBezTo>
                    <a:pt x="2278" y="6018"/>
                    <a:pt x="2277" y="6008"/>
                    <a:pt x="2277" y="5996"/>
                  </a:cubicBezTo>
                  <a:cubicBezTo>
                    <a:pt x="2277" y="5980"/>
                    <a:pt x="2278" y="5966"/>
                    <a:pt x="2279" y="5952"/>
                  </a:cubicBezTo>
                  <a:close/>
                  <a:moveTo>
                    <a:pt x="2167" y="5966"/>
                  </a:moveTo>
                  <a:cubicBezTo>
                    <a:pt x="2165" y="5984"/>
                    <a:pt x="2164" y="6002"/>
                    <a:pt x="2165" y="6018"/>
                  </a:cubicBezTo>
                  <a:cubicBezTo>
                    <a:pt x="2164" y="6002"/>
                    <a:pt x="2165" y="5984"/>
                    <a:pt x="2167" y="5966"/>
                  </a:cubicBezTo>
                  <a:close/>
                  <a:moveTo>
                    <a:pt x="2166" y="6071"/>
                  </a:moveTo>
                  <a:cubicBezTo>
                    <a:pt x="2165" y="6105"/>
                    <a:pt x="2164" y="6140"/>
                    <a:pt x="2165" y="6175"/>
                  </a:cubicBezTo>
                  <a:cubicBezTo>
                    <a:pt x="2165" y="6193"/>
                    <a:pt x="2167" y="6211"/>
                    <a:pt x="2169" y="6229"/>
                  </a:cubicBezTo>
                  <a:cubicBezTo>
                    <a:pt x="2167" y="6211"/>
                    <a:pt x="2165" y="6193"/>
                    <a:pt x="2165" y="6175"/>
                  </a:cubicBezTo>
                  <a:cubicBezTo>
                    <a:pt x="2163" y="6140"/>
                    <a:pt x="2165" y="6105"/>
                    <a:pt x="2166" y="6071"/>
                  </a:cubicBezTo>
                  <a:close/>
                  <a:moveTo>
                    <a:pt x="1237" y="6073"/>
                  </a:moveTo>
                  <a:cubicBezTo>
                    <a:pt x="1245" y="6098"/>
                    <a:pt x="1250" y="6124"/>
                    <a:pt x="1252" y="6152"/>
                  </a:cubicBezTo>
                  <a:cubicBezTo>
                    <a:pt x="1250" y="6124"/>
                    <a:pt x="1245" y="6098"/>
                    <a:pt x="1237" y="6073"/>
                  </a:cubicBezTo>
                  <a:close/>
                  <a:moveTo>
                    <a:pt x="2280" y="6199"/>
                  </a:moveTo>
                  <a:cubicBezTo>
                    <a:pt x="2278" y="6227"/>
                    <a:pt x="2276" y="6255"/>
                    <a:pt x="2279" y="6282"/>
                  </a:cubicBezTo>
                  <a:cubicBezTo>
                    <a:pt x="2276" y="6255"/>
                    <a:pt x="2278" y="6227"/>
                    <a:pt x="2280" y="6199"/>
                  </a:cubicBezTo>
                  <a:close/>
                  <a:moveTo>
                    <a:pt x="1249" y="6287"/>
                  </a:moveTo>
                  <a:cubicBezTo>
                    <a:pt x="1249" y="6314"/>
                    <a:pt x="1250" y="6341"/>
                    <a:pt x="1253" y="6366"/>
                  </a:cubicBezTo>
                  <a:cubicBezTo>
                    <a:pt x="1250" y="6341"/>
                    <a:pt x="1249" y="6313"/>
                    <a:pt x="1249" y="6287"/>
                  </a:cubicBezTo>
                  <a:close/>
                  <a:moveTo>
                    <a:pt x="1253" y="6367"/>
                  </a:moveTo>
                  <a:cubicBezTo>
                    <a:pt x="1254" y="6375"/>
                    <a:pt x="1256" y="6383"/>
                    <a:pt x="1257" y="6391"/>
                  </a:cubicBezTo>
                  <a:cubicBezTo>
                    <a:pt x="1259" y="6401"/>
                    <a:pt x="1261" y="6409"/>
                    <a:pt x="1263" y="6418"/>
                  </a:cubicBezTo>
                  <a:cubicBezTo>
                    <a:pt x="1261" y="6410"/>
                    <a:pt x="1258" y="6401"/>
                    <a:pt x="1256" y="6392"/>
                  </a:cubicBezTo>
                  <a:cubicBezTo>
                    <a:pt x="1255" y="6384"/>
                    <a:pt x="1254" y="6375"/>
                    <a:pt x="1253" y="6367"/>
                  </a:cubicBezTo>
                  <a:close/>
                  <a:moveTo>
                    <a:pt x="2268" y="6439"/>
                  </a:moveTo>
                  <a:cubicBezTo>
                    <a:pt x="2274" y="6445"/>
                    <a:pt x="2272" y="6450"/>
                    <a:pt x="2270" y="6457"/>
                  </a:cubicBezTo>
                  <a:cubicBezTo>
                    <a:pt x="2272" y="6451"/>
                    <a:pt x="2274" y="6445"/>
                    <a:pt x="2268" y="6439"/>
                  </a:cubicBezTo>
                  <a:close/>
                  <a:moveTo>
                    <a:pt x="2227" y="6467"/>
                  </a:moveTo>
                  <a:cubicBezTo>
                    <a:pt x="2229" y="6479"/>
                    <a:pt x="2231" y="6491"/>
                    <a:pt x="2232" y="6503"/>
                  </a:cubicBezTo>
                  <a:cubicBezTo>
                    <a:pt x="2232" y="6504"/>
                    <a:pt x="2232" y="6504"/>
                    <a:pt x="2231" y="6504"/>
                  </a:cubicBezTo>
                  <a:cubicBezTo>
                    <a:pt x="2230" y="6492"/>
                    <a:pt x="2229" y="6479"/>
                    <a:pt x="2227" y="6467"/>
                  </a:cubicBezTo>
                  <a:close/>
                  <a:moveTo>
                    <a:pt x="2266" y="6470"/>
                  </a:moveTo>
                  <a:cubicBezTo>
                    <a:pt x="2265" y="6474"/>
                    <a:pt x="2264" y="6478"/>
                    <a:pt x="2265" y="6483"/>
                  </a:cubicBezTo>
                  <a:cubicBezTo>
                    <a:pt x="2260" y="6489"/>
                    <a:pt x="2255" y="6497"/>
                    <a:pt x="2252" y="6504"/>
                  </a:cubicBezTo>
                  <a:cubicBezTo>
                    <a:pt x="2255" y="6497"/>
                    <a:pt x="2259" y="6489"/>
                    <a:pt x="2264" y="6483"/>
                  </a:cubicBezTo>
                  <a:cubicBezTo>
                    <a:pt x="2264" y="6478"/>
                    <a:pt x="2265" y="6474"/>
                    <a:pt x="2266" y="6470"/>
                  </a:cubicBezTo>
                  <a:close/>
                  <a:moveTo>
                    <a:pt x="1306" y="6536"/>
                  </a:moveTo>
                  <a:cubicBezTo>
                    <a:pt x="1313" y="6564"/>
                    <a:pt x="1318" y="6590"/>
                    <a:pt x="1319" y="6617"/>
                  </a:cubicBezTo>
                  <a:cubicBezTo>
                    <a:pt x="1318" y="6590"/>
                    <a:pt x="1313" y="6564"/>
                    <a:pt x="1306" y="6536"/>
                  </a:cubicBezTo>
                  <a:close/>
                  <a:moveTo>
                    <a:pt x="2214" y="6586"/>
                  </a:moveTo>
                  <a:cubicBezTo>
                    <a:pt x="2213" y="6591"/>
                    <a:pt x="2211" y="6596"/>
                    <a:pt x="2210" y="6600"/>
                  </a:cubicBezTo>
                  <a:cubicBezTo>
                    <a:pt x="2207" y="6606"/>
                    <a:pt x="2204" y="6613"/>
                    <a:pt x="2201" y="6620"/>
                  </a:cubicBezTo>
                  <a:cubicBezTo>
                    <a:pt x="2204" y="6613"/>
                    <a:pt x="2206" y="6606"/>
                    <a:pt x="2209" y="6600"/>
                  </a:cubicBezTo>
                  <a:cubicBezTo>
                    <a:pt x="2211" y="6596"/>
                    <a:pt x="2213" y="6591"/>
                    <a:pt x="2214" y="6586"/>
                  </a:cubicBezTo>
                  <a:close/>
                  <a:moveTo>
                    <a:pt x="2192" y="6643"/>
                  </a:moveTo>
                  <a:cubicBezTo>
                    <a:pt x="2189" y="6655"/>
                    <a:pt x="2186" y="6668"/>
                    <a:pt x="2185" y="6680"/>
                  </a:cubicBezTo>
                  <a:cubicBezTo>
                    <a:pt x="2186" y="6668"/>
                    <a:pt x="2189" y="6655"/>
                    <a:pt x="2192" y="6643"/>
                  </a:cubicBezTo>
                  <a:close/>
                  <a:moveTo>
                    <a:pt x="2186" y="6691"/>
                  </a:moveTo>
                  <a:cubicBezTo>
                    <a:pt x="2188" y="6701"/>
                    <a:pt x="2192" y="6712"/>
                    <a:pt x="2197" y="6724"/>
                  </a:cubicBezTo>
                  <a:cubicBezTo>
                    <a:pt x="2192" y="6712"/>
                    <a:pt x="2188" y="6701"/>
                    <a:pt x="2186" y="6691"/>
                  </a:cubicBezTo>
                  <a:close/>
                  <a:moveTo>
                    <a:pt x="1535" y="6793"/>
                  </a:moveTo>
                  <a:cubicBezTo>
                    <a:pt x="1518" y="6795"/>
                    <a:pt x="1500" y="6798"/>
                    <a:pt x="1483" y="6799"/>
                  </a:cubicBezTo>
                  <a:cubicBezTo>
                    <a:pt x="1483" y="6798"/>
                    <a:pt x="1483" y="6798"/>
                    <a:pt x="1483" y="6798"/>
                  </a:cubicBezTo>
                  <a:cubicBezTo>
                    <a:pt x="1500" y="6797"/>
                    <a:pt x="1518" y="6795"/>
                    <a:pt x="1535" y="6793"/>
                  </a:cubicBezTo>
                  <a:close/>
                  <a:moveTo>
                    <a:pt x="1380" y="6813"/>
                  </a:moveTo>
                  <a:cubicBezTo>
                    <a:pt x="1386" y="6817"/>
                    <a:pt x="1393" y="6819"/>
                    <a:pt x="1401" y="6821"/>
                  </a:cubicBezTo>
                  <a:cubicBezTo>
                    <a:pt x="1393" y="6819"/>
                    <a:pt x="1386" y="6817"/>
                    <a:pt x="1380" y="6813"/>
                  </a:cubicBezTo>
                  <a:close/>
                  <a:moveTo>
                    <a:pt x="1736" y="6819"/>
                  </a:moveTo>
                  <a:cubicBezTo>
                    <a:pt x="1734" y="6825"/>
                    <a:pt x="1732" y="6831"/>
                    <a:pt x="1729" y="6837"/>
                  </a:cubicBezTo>
                  <a:cubicBezTo>
                    <a:pt x="1732" y="6831"/>
                    <a:pt x="1734" y="6825"/>
                    <a:pt x="1736" y="6819"/>
                  </a:cubicBezTo>
                  <a:close/>
                  <a:moveTo>
                    <a:pt x="1391" y="6832"/>
                  </a:moveTo>
                  <a:lnTo>
                    <a:pt x="1392" y="6832"/>
                  </a:lnTo>
                  <a:cubicBezTo>
                    <a:pt x="1395" y="6838"/>
                    <a:pt x="1398" y="6840"/>
                    <a:pt x="1400" y="6844"/>
                  </a:cubicBezTo>
                  <a:cubicBezTo>
                    <a:pt x="1398" y="6840"/>
                    <a:pt x="1394" y="6838"/>
                    <a:pt x="1391" y="6832"/>
                  </a:cubicBezTo>
                  <a:close/>
                  <a:moveTo>
                    <a:pt x="1716" y="6834"/>
                  </a:moveTo>
                  <a:cubicBezTo>
                    <a:pt x="1718" y="6834"/>
                    <a:pt x="1719" y="6834"/>
                    <a:pt x="1720" y="6834"/>
                  </a:cubicBezTo>
                  <a:cubicBezTo>
                    <a:pt x="1719" y="6834"/>
                    <a:pt x="1718" y="6834"/>
                    <a:pt x="1716" y="6835"/>
                  </a:cubicBezTo>
                  <a:cubicBezTo>
                    <a:pt x="1710" y="6838"/>
                    <a:pt x="1704" y="6841"/>
                    <a:pt x="1698" y="6844"/>
                  </a:cubicBezTo>
                  <a:cubicBezTo>
                    <a:pt x="1704" y="6841"/>
                    <a:pt x="1710" y="6838"/>
                    <a:pt x="1716" y="6834"/>
                  </a:cubicBezTo>
                  <a:close/>
                  <a:moveTo>
                    <a:pt x="1401" y="6850"/>
                  </a:moveTo>
                  <a:cubicBezTo>
                    <a:pt x="1402" y="6852"/>
                    <a:pt x="1402" y="6856"/>
                    <a:pt x="1401" y="6860"/>
                  </a:cubicBezTo>
                  <a:cubicBezTo>
                    <a:pt x="1400" y="6860"/>
                    <a:pt x="1400" y="6860"/>
                    <a:pt x="1400" y="6860"/>
                  </a:cubicBezTo>
                  <a:cubicBezTo>
                    <a:pt x="1401" y="6856"/>
                    <a:pt x="1401" y="6852"/>
                    <a:pt x="1401" y="6850"/>
                  </a:cubicBezTo>
                  <a:close/>
                  <a:moveTo>
                    <a:pt x="2577" y="6853"/>
                  </a:moveTo>
                  <a:cubicBezTo>
                    <a:pt x="2564" y="6854"/>
                    <a:pt x="2553" y="6857"/>
                    <a:pt x="2543" y="6862"/>
                  </a:cubicBezTo>
                  <a:cubicBezTo>
                    <a:pt x="2553" y="6857"/>
                    <a:pt x="2564" y="6854"/>
                    <a:pt x="2577" y="6853"/>
                  </a:cubicBezTo>
                  <a:close/>
                  <a:moveTo>
                    <a:pt x="2663" y="6853"/>
                  </a:moveTo>
                  <a:cubicBezTo>
                    <a:pt x="2669" y="6853"/>
                    <a:pt x="2675" y="6854"/>
                    <a:pt x="2680" y="6855"/>
                  </a:cubicBezTo>
                  <a:lnTo>
                    <a:pt x="2680" y="6856"/>
                  </a:lnTo>
                  <a:cubicBezTo>
                    <a:pt x="2664" y="6852"/>
                    <a:pt x="2645" y="6854"/>
                    <a:pt x="2627" y="6860"/>
                  </a:cubicBezTo>
                  <a:cubicBezTo>
                    <a:pt x="2639" y="6856"/>
                    <a:pt x="2651" y="6853"/>
                    <a:pt x="2663" y="6853"/>
                  </a:cubicBezTo>
                  <a:close/>
                  <a:moveTo>
                    <a:pt x="2609" y="6866"/>
                  </a:moveTo>
                  <a:cubicBezTo>
                    <a:pt x="2590" y="6873"/>
                    <a:pt x="2571" y="6881"/>
                    <a:pt x="2552" y="6888"/>
                  </a:cubicBezTo>
                  <a:cubicBezTo>
                    <a:pt x="2548" y="6889"/>
                    <a:pt x="2544" y="6891"/>
                    <a:pt x="2540" y="6892"/>
                  </a:cubicBezTo>
                  <a:cubicBezTo>
                    <a:pt x="2539" y="6892"/>
                    <a:pt x="2536" y="6893"/>
                    <a:pt x="2534" y="6893"/>
                  </a:cubicBezTo>
                  <a:cubicBezTo>
                    <a:pt x="2540" y="6891"/>
                    <a:pt x="2546" y="6890"/>
                    <a:pt x="2552" y="6888"/>
                  </a:cubicBezTo>
                  <a:cubicBezTo>
                    <a:pt x="2571" y="6881"/>
                    <a:pt x="2590" y="6873"/>
                    <a:pt x="2609" y="6866"/>
                  </a:cubicBezTo>
                  <a:close/>
                  <a:moveTo>
                    <a:pt x="2527" y="6869"/>
                  </a:moveTo>
                  <a:cubicBezTo>
                    <a:pt x="2508" y="6879"/>
                    <a:pt x="2492" y="6892"/>
                    <a:pt x="2473" y="6898"/>
                  </a:cubicBezTo>
                  <a:cubicBezTo>
                    <a:pt x="2492" y="6892"/>
                    <a:pt x="2508" y="6879"/>
                    <a:pt x="2527" y="6869"/>
                  </a:cubicBezTo>
                  <a:close/>
                  <a:moveTo>
                    <a:pt x="1401" y="6890"/>
                  </a:moveTo>
                  <a:cubicBezTo>
                    <a:pt x="1411" y="6894"/>
                    <a:pt x="1420" y="6897"/>
                    <a:pt x="1428" y="6901"/>
                  </a:cubicBezTo>
                  <a:cubicBezTo>
                    <a:pt x="1420" y="6897"/>
                    <a:pt x="1411" y="6894"/>
                    <a:pt x="1401" y="6891"/>
                  </a:cubicBezTo>
                  <a:cubicBezTo>
                    <a:pt x="1402" y="6891"/>
                    <a:pt x="1401" y="6890"/>
                    <a:pt x="1401" y="6890"/>
                  </a:cubicBezTo>
                  <a:close/>
                  <a:moveTo>
                    <a:pt x="2624" y="6891"/>
                  </a:moveTo>
                  <a:cubicBezTo>
                    <a:pt x="2632" y="6891"/>
                    <a:pt x="2639" y="6892"/>
                    <a:pt x="2647" y="6895"/>
                  </a:cubicBezTo>
                  <a:cubicBezTo>
                    <a:pt x="2616" y="6886"/>
                    <a:pt x="2586" y="6896"/>
                    <a:pt x="2556" y="6906"/>
                  </a:cubicBezTo>
                  <a:cubicBezTo>
                    <a:pt x="2578" y="6898"/>
                    <a:pt x="2601" y="6891"/>
                    <a:pt x="2624" y="6891"/>
                  </a:cubicBezTo>
                  <a:close/>
                  <a:moveTo>
                    <a:pt x="1395" y="6897"/>
                  </a:moveTo>
                  <a:cubicBezTo>
                    <a:pt x="1391" y="6901"/>
                    <a:pt x="1387" y="6903"/>
                    <a:pt x="1383" y="6904"/>
                  </a:cubicBezTo>
                  <a:cubicBezTo>
                    <a:pt x="1387" y="6903"/>
                    <a:pt x="1391" y="6901"/>
                    <a:pt x="1395" y="6897"/>
                  </a:cubicBezTo>
                  <a:close/>
                  <a:moveTo>
                    <a:pt x="2674" y="6906"/>
                  </a:moveTo>
                  <a:cubicBezTo>
                    <a:pt x="2665" y="6909"/>
                    <a:pt x="2656" y="6914"/>
                    <a:pt x="2648" y="6918"/>
                  </a:cubicBezTo>
                  <a:cubicBezTo>
                    <a:pt x="2656" y="6914"/>
                    <a:pt x="2665" y="6909"/>
                    <a:pt x="2674" y="6906"/>
                  </a:cubicBezTo>
                  <a:close/>
                  <a:moveTo>
                    <a:pt x="1440" y="6908"/>
                  </a:moveTo>
                  <a:cubicBezTo>
                    <a:pt x="1444" y="6911"/>
                    <a:pt x="1448" y="6914"/>
                    <a:pt x="1451" y="6917"/>
                  </a:cubicBezTo>
                  <a:cubicBezTo>
                    <a:pt x="1457" y="6917"/>
                    <a:pt x="1464" y="6917"/>
                    <a:pt x="1471" y="6917"/>
                  </a:cubicBezTo>
                  <a:cubicBezTo>
                    <a:pt x="1464" y="6917"/>
                    <a:pt x="1457" y="6918"/>
                    <a:pt x="1451" y="6918"/>
                  </a:cubicBezTo>
                  <a:cubicBezTo>
                    <a:pt x="1448" y="6914"/>
                    <a:pt x="1444" y="6911"/>
                    <a:pt x="1440" y="6908"/>
                  </a:cubicBezTo>
                  <a:close/>
                  <a:moveTo>
                    <a:pt x="2734" y="6958"/>
                  </a:moveTo>
                  <a:cubicBezTo>
                    <a:pt x="2734" y="6959"/>
                    <a:pt x="2734" y="6958"/>
                    <a:pt x="2735" y="6958"/>
                  </a:cubicBezTo>
                  <a:cubicBezTo>
                    <a:pt x="2735" y="6959"/>
                    <a:pt x="2734" y="6959"/>
                    <a:pt x="2735" y="6959"/>
                  </a:cubicBezTo>
                  <a:cubicBezTo>
                    <a:pt x="2720" y="6965"/>
                    <a:pt x="2705" y="6969"/>
                    <a:pt x="2688" y="6973"/>
                  </a:cubicBezTo>
                  <a:cubicBezTo>
                    <a:pt x="2704" y="6969"/>
                    <a:pt x="2720" y="6964"/>
                    <a:pt x="2734" y="6958"/>
                  </a:cubicBezTo>
                  <a:close/>
                  <a:moveTo>
                    <a:pt x="2578" y="6985"/>
                  </a:moveTo>
                  <a:cubicBezTo>
                    <a:pt x="2566" y="6987"/>
                    <a:pt x="2554" y="6992"/>
                    <a:pt x="2541" y="6996"/>
                  </a:cubicBezTo>
                  <a:cubicBezTo>
                    <a:pt x="2533" y="6999"/>
                    <a:pt x="2524" y="7002"/>
                    <a:pt x="2515" y="7002"/>
                  </a:cubicBezTo>
                  <a:cubicBezTo>
                    <a:pt x="2507" y="7003"/>
                    <a:pt x="2498" y="7003"/>
                    <a:pt x="2489" y="7000"/>
                  </a:cubicBezTo>
                  <a:cubicBezTo>
                    <a:pt x="2498" y="7003"/>
                    <a:pt x="2507" y="7003"/>
                    <a:pt x="2515" y="7002"/>
                  </a:cubicBezTo>
                  <a:cubicBezTo>
                    <a:pt x="2524" y="7002"/>
                    <a:pt x="2533" y="6999"/>
                    <a:pt x="2541" y="6996"/>
                  </a:cubicBezTo>
                  <a:cubicBezTo>
                    <a:pt x="2554" y="6992"/>
                    <a:pt x="2566" y="6987"/>
                    <a:pt x="2578" y="6985"/>
                  </a:cubicBezTo>
                  <a:close/>
                  <a:moveTo>
                    <a:pt x="1692" y="7020"/>
                  </a:moveTo>
                  <a:cubicBezTo>
                    <a:pt x="1684" y="7027"/>
                    <a:pt x="1676" y="7034"/>
                    <a:pt x="1668" y="7040"/>
                  </a:cubicBezTo>
                  <a:cubicBezTo>
                    <a:pt x="1676" y="7034"/>
                    <a:pt x="1684" y="7027"/>
                    <a:pt x="1692" y="7020"/>
                  </a:cubicBezTo>
                  <a:close/>
                  <a:moveTo>
                    <a:pt x="1312" y="7025"/>
                  </a:moveTo>
                  <a:cubicBezTo>
                    <a:pt x="1310" y="7026"/>
                    <a:pt x="1308" y="7028"/>
                    <a:pt x="1306" y="7030"/>
                  </a:cubicBezTo>
                  <a:cubicBezTo>
                    <a:pt x="1308" y="7028"/>
                    <a:pt x="1309" y="7026"/>
                    <a:pt x="1312" y="7025"/>
                  </a:cubicBezTo>
                  <a:close/>
                  <a:moveTo>
                    <a:pt x="2607" y="7026"/>
                  </a:moveTo>
                  <a:cubicBezTo>
                    <a:pt x="2592" y="7030"/>
                    <a:pt x="2576" y="7033"/>
                    <a:pt x="2561" y="7035"/>
                  </a:cubicBezTo>
                  <a:cubicBezTo>
                    <a:pt x="2576" y="7033"/>
                    <a:pt x="2592" y="7030"/>
                    <a:pt x="2607" y="7026"/>
                  </a:cubicBezTo>
                  <a:close/>
                  <a:moveTo>
                    <a:pt x="2688" y="7031"/>
                  </a:moveTo>
                  <a:cubicBezTo>
                    <a:pt x="2675" y="7036"/>
                    <a:pt x="2664" y="7043"/>
                    <a:pt x="2653" y="7051"/>
                  </a:cubicBezTo>
                  <a:cubicBezTo>
                    <a:pt x="2664" y="7043"/>
                    <a:pt x="2675" y="7036"/>
                    <a:pt x="2688" y="7031"/>
                  </a:cubicBezTo>
                  <a:close/>
                  <a:moveTo>
                    <a:pt x="1381" y="7039"/>
                  </a:moveTo>
                  <a:cubicBezTo>
                    <a:pt x="1385" y="7040"/>
                    <a:pt x="1389" y="7040"/>
                    <a:pt x="1393" y="7042"/>
                  </a:cubicBezTo>
                  <a:cubicBezTo>
                    <a:pt x="1393" y="7042"/>
                    <a:pt x="1393" y="7043"/>
                    <a:pt x="1393" y="7043"/>
                  </a:cubicBezTo>
                  <a:cubicBezTo>
                    <a:pt x="1389" y="7041"/>
                    <a:pt x="1385" y="7040"/>
                    <a:pt x="1381" y="7039"/>
                  </a:cubicBezTo>
                  <a:close/>
                  <a:moveTo>
                    <a:pt x="1364" y="7104"/>
                  </a:moveTo>
                  <a:cubicBezTo>
                    <a:pt x="1369" y="7107"/>
                    <a:pt x="1373" y="7109"/>
                    <a:pt x="1377" y="7112"/>
                  </a:cubicBezTo>
                  <a:cubicBezTo>
                    <a:pt x="1377" y="7112"/>
                    <a:pt x="1377" y="7113"/>
                    <a:pt x="1377" y="7113"/>
                  </a:cubicBezTo>
                  <a:cubicBezTo>
                    <a:pt x="1373" y="7110"/>
                    <a:pt x="1369" y="7107"/>
                    <a:pt x="1364" y="7104"/>
                  </a:cubicBezTo>
                  <a:close/>
                  <a:moveTo>
                    <a:pt x="1325" y="7109"/>
                  </a:moveTo>
                  <a:cubicBezTo>
                    <a:pt x="1325" y="7109"/>
                    <a:pt x="1325" y="7109"/>
                    <a:pt x="1325" y="7110"/>
                  </a:cubicBezTo>
                  <a:cubicBezTo>
                    <a:pt x="1315" y="7110"/>
                    <a:pt x="1306" y="7110"/>
                    <a:pt x="1298" y="7112"/>
                  </a:cubicBezTo>
                  <a:cubicBezTo>
                    <a:pt x="1306" y="7111"/>
                    <a:pt x="1315" y="7109"/>
                    <a:pt x="1325" y="7109"/>
                  </a:cubicBezTo>
                  <a:close/>
                  <a:moveTo>
                    <a:pt x="2809" y="7110"/>
                  </a:moveTo>
                  <a:cubicBezTo>
                    <a:pt x="2809" y="7111"/>
                    <a:pt x="2809" y="7111"/>
                    <a:pt x="2809" y="7111"/>
                  </a:cubicBezTo>
                  <a:cubicBezTo>
                    <a:pt x="2794" y="7112"/>
                    <a:pt x="2780" y="7113"/>
                    <a:pt x="2767" y="7115"/>
                  </a:cubicBezTo>
                  <a:cubicBezTo>
                    <a:pt x="2780" y="7113"/>
                    <a:pt x="2794" y="7111"/>
                    <a:pt x="2809" y="7110"/>
                  </a:cubicBezTo>
                  <a:close/>
                  <a:moveTo>
                    <a:pt x="2608" y="7135"/>
                  </a:moveTo>
                  <a:cubicBezTo>
                    <a:pt x="2595" y="7138"/>
                    <a:pt x="2582" y="7140"/>
                    <a:pt x="2570" y="7140"/>
                  </a:cubicBezTo>
                  <a:cubicBezTo>
                    <a:pt x="2582" y="7140"/>
                    <a:pt x="2595" y="7138"/>
                    <a:pt x="2608" y="7135"/>
                  </a:cubicBezTo>
                  <a:close/>
                  <a:moveTo>
                    <a:pt x="2761" y="7148"/>
                  </a:moveTo>
                  <a:cubicBezTo>
                    <a:pt x="2738" y="7153"/>
                    <a:pt x="2713" y="7160"/>
                    <a:pt x="2689" y="7163"/>
                  </a:cubicBezTo>
                  <a:cubicBezTo>
                    <a:pt x="2713" y="7160"/>
                    <a:pt x="2738" y="7153"/>
                    <a:pt x="2761" y="7148"/>
                  </a:cubicBezTo>
                  <a:close/>
                  <a:moveTo>
                    <a:pt x="2633" y="7160"/>
                  </a:moveTo>
                  <a:cubicBezTo>
                    <a:pt x="2643" y="7163"/>
                    <a:pt x="2654" y="7165"/>
                    <a:pt x="2666" y="7165"/>
                  </a:cubicBezTo>
                  <a:cubicBezTo>
                    <a:pt x="2654" y="7165"/>
                    <a:pt x="2643" y="7163"/>
                    <a:pt x="2633" y="7160"/>
                  </a:cubicBezTo>
                  <a:close/>
                  <a:moveTo>
                    <a:pt x="1230" y="7168"/>
                  </a:moveTo>
                  <a:cubicBezTo>
                    <a:pt x="1234" y="7171"/>
                    <a:pt x="1238" y="7174"/>
                    <a:pt x="1243" y="7176"/>
                  </a:cubicBezTo>
                  <a:cubicBezTo>
                    <a:pt x="1238" y="7174"/>
                    <a:pt x="1234" y="7172"/>
                    <a:pt x="1230" y="7169"/>
                  </a:cubicBezTo>
                  <a:cubicBezTo>
                    <a:pt x="1230" y="7169"/>
                    <a:pt x="1230" y="7169"/>
                    <a:pt x="1230" y="7168"/>
                  </a:cubicBezTo>
                  <a:close/>
                  <a:moveTo>
                    <a:pt x="1287" y="7186"/>
                  </a:moveTo>
                  <a:cubicBezTo>
                    <a:pt x="1302" y="7187"/>
                    <a:pt x="1319" y="7188"/>
                    <a:pt x="1334" y="7192"/>
                  </a:cubicBezTo>
                  <a:cubicBezTo>
                    <a:pt x="1319" y="7188"/>
                    <a:pt x="1302" y="7187"/>
                    <a:pt x="1287" y="7186"/>
                  </a:cubicBezTo>
                  <a:close/>
                  <a:moveTo>
                    <a:pt x="1224" y="7211"/>
                  </a:moveTo>
                  <a:cubicBezTo>
                    <a:pt x="1212" y="7211"/>
                    <a:pt x="1200" y="7213"/>
                    <a:pt x="1191" y="7217"/>
                  </a:cubicBezTo>
                  <a:cubicBezTo>
                    <a:pt x="1200" y="7213"/>
                    <a:pt x="1212" y="7211"/>
                    <a:pt x="1224" y="7211"/>
                  </a:cubicBezTo>
                  <a:close/>
                  <a:moveTo>
                    <a:pt x="2945" y="7263"/>
                  </a:moveTo>
                  <a:cubicBezTo>
                    <a:pt x="2945" y="7266"/>
                    <a:pt x="2945" y="7268"/>
                    <a:pt x="2945" y="7270"/>
                  </a:cubicBezTo>
                  <a:cubicBezTo>
                    <a:pt x="2945" y="7273"/>
                    <a:pt x="2944" y="7276"/>
                    <a:pt x="2943" y="7278"/>
                  </a:cubicBezTo>
                  <a:cubicBezTo>
                    <a:pt x="2944" y="7274"/>
                    <a:pt x="2945" y="7269"/>
                    <a:pt x="2945" y="7263"/>
                  </a:cubicBezTo>
                  <a:close/>
                  <a:moveTo>
                    <a:pt x="2557" y="7283"/>
                  </a:moveTo>
                  <a:cubicBezTo>
                    <a:pt x="2557" y="7283"/>
                    <a:pt x="2558" y="7284"/>
                    <a:pt x="2559" y="7284"/>
                  </a:cubicBezTo>
                  <a:cubicBezTo>
                    <a:pt x="2571" y="7303"/>
                    <a:pt x="2586" y="7325"/>
                    <a:pt x="2603" y="7344"/>
                  </a:cubicBezTo>
                  <a:cubicBezTo>
                    <a:pt x="2585" y="7324"/>
                    <a:pt x="2569" y="7302"/>
                    <a:pt x="2557" y="7283"/>
                  </a:cubicBezTo>
                  <a:close/>
                  <a:moveTo>
                    <a:pt x="1449" y="7311"/>
                  </a:moveTo>
                  <a:cubicBezTo>
                    <a:pt x="1444" y="7315"/>
                    <a:pt x="1437" y="7320"/>
                    <a:pt x="1433" y="7325"/>
                  </a:cubicBezTo>
                  <a:cubicBezTo>
                    <a:pt x="1433" y="7324"/>
                    <a:pt x="1432" y="7324"/>
                    <a:pt x="1433" y="7324"/>
                  </a:cubicBezTo>
                  <a:cubicBezTo>
                    <a:pt x="1437" y="7319"/>
                    <a:pt x="1444" y="7315"/>
                    <a:pt x="1449" y="7311"/>
                  </a:cubicBezTo>
                  <a:close/>
                  <a:moveTo>
                    <a:pt x="1427" y="7331"/>
                  </a:moveTo>
                  <a:cubicBezTo>
                    <a:pt x="1422" y="7340"/>
                    <a:pt x="1417" y="7349"/>
                    <a:pt x="1411" y="7356"/>
                  </a:cubicBezTo>
                  <a:cubicBezTo>
                    <a:pt x="1417" y="7349"/>
                    <a:pt x="1422" y="7340"/>
                    <a:pt x="1427" y="7331"/>
                  </a:cubicBezTo>
                  <a:close/>
                  <a:moveTo>
                    <a:pt x="2695" y="7339"/>
                  </a:moveTo>
                  <a:cubicBezTo>
                    <a:pt x="2711" y="7346"/>
                    <a:pt x="2727" y="7350"/>
                    <a:pt x="2747" y="7351"/>
                  </a:cubicBezTo>
                  <a:cubicBezTo>
                    <a:pt x="2727" y="7350"/>
                    <a:pt x="2711" y="7346"/>
                    <a:pt x="2695" y="7339"/>
                  </a:cubicBezTo>
                  <a:close/>
                  <a:moveTo>
                    <a:pt x="2617" y="7357"/>
                  </a:moveTo>
                  <a:cubicBezTo>
                    <a:pt x="2627" y="7366"/>
                    <a:pt x="2637" y="7374"/>
                    <a:pt x="2648" y="7380"/>
                  </a:cubicBezTo>
                  <a:cubicBezTo>
                    <a:pt x="2637" y="7374"/>
                    <a:pt x="2627" y="7366"/>
                    <a:pt x="2617" y="7357"/>
                  </a:cubicBezTo>
                  <a:close/>
                  <a:moveTo>
                    <a:pt x="1400" y="7365"/>
                  </a:moveTo>
                  <a:cubicBezTo>
                    <a:pt x="1387" y="7373"/>
                    <a:pt x="1372" y="7377"/>
                    <a:pt x="1357" y="7383"/>
                  </a:cubicBezTo>
                  <a:cubicBezTo>
                    <a:pt x="1372" y="7377"/>
                    <a:pt x="1387" y="7373"/>
                    <a:pt x="1400" y="7365"/>
                  </a:cubicBezTo>
                  <a:close/>
                  <a:moveTo>
                    <a:pt x="1095" y="7377"/>
                  </a:moveTo>
                  <a:cubicBezTo>
                    <a:pt x="1094" y="7378"/>
                    <a:pt x="1094" y="7379"/>
                    <a:pt x="1092" y="7379"/>
                  </a:cubicBezTo>
                  <a:cubicBezTo>
                    <a:pt x="1093" y="7379"/>
                    <a:pt x="1094" y="7378"/>
                    <a:pt x="1095" y="7377"/>
                  </a:cubicBezTo>
                  <a:close/>
                  <a:moveTo>
                    <a:pt x="2673" y="7388"/>
                  </a:moveTo>
                  <a:cubicBezTo>
                    <a:pt x="2679" y="7389"/>
                    <a:pt x="2686" y="7389"/>
                    <a:pt x="2692" y="7389"/>
                  </a:cubicBezTo>
                  <a:cubicBezTo>
                    <a:pt x="2686" y="7389"/>
                    <a:pt x="2679" y="7389"/>
                    <a:pt x="2673" y="7388"/>
                  </a:cubicBezTo>
                  <a:close/>
                  <a:moveTo>
                    <a:pt x="2869" y="7388"/>
                  </a:moveTo>
                  <a:cubicBezTo>
                    <a:pt x="2869" y="7389"/>
                    <a:pt x="2869" y="7389"/>
                    <a:pt x="2868" y="7389"/>
                  </a:cubicBezTo>
                  <a:cubicBezTo>
                    <a:pt x="2851" y="7395"/>
                    <a:pt x="2830" y="7398"/>
                    <a:pt x="2809" y="7401"/>
                  </a:cubicBezTo>
                  <a:cubicBezTo>
                    <a:pt x="2830" y="7398"/>
                    <a:pt x="2851" y="7394"/>
                    <a:pt x="2869" y="7388"/>
                  </a:cubicBezTo>
                  <a:close/>
                  <a:moveTo>
                    <a:pt x="1108" y="7437"/>
                  </a:moveTo>
                  <a:cubicBezTo>
                    <a:pt x="1113" y="7440"/>
                    <a:pt x="1117" y="7443"/>
                    <a:pt x="1122" y="7445"/>
                  </a:cubicBezTo>
                  <a:cubicBezTo>
                    <a:pt x="1117" y="7443"/>
                    <a:pt x="1113" y="7441"/>
                    <a:pt x="1108" y="7438"/>
                  </a:cubicBezTo>
                  <a:cubicBezTo>
                    <a:pt x="1108" y="7437"/>
                    <a:pt x="1108" y="7437"/>
                    <a:pt x="1108" y="7437"/>
                  </a:cubicBezTo>
                  <a:close/>
                  <a:moveTo>
                    <a:pt x="1362" y="7442"/>
                  </a:moveTo>
                  <a:cubicBezTo>
                    <a:pt x="1335" y="7454"/>
                    <a:pt x="1320" y="7468"/>
                    <a:pt x="1296" y="7475"/>
                  </a:cubicBezTo>
                  <a:cubicBezTo>
                    <a:pt x="1287" y="7477"/>
                    <a:pt x="1276" y="7479"/>
                    <a:pt x="1263" y="7478"/>
                  </a:cubicBezTo>
                  <a:cubicBezTo>
                    <a:pt x="1276" y="7479"/>
                    <a:pt x="1287" y="7477"/>
                    <a:pt x="1296" y="7475"/>
                  </a:cubicBezTo>
                  <a:cubicBezTo>
                    <a:pt x="1320" y="7468"/>
                    <a:pt x="1335" y="7454"/>
                    <a:pt x="1362" y="7442"/>
                  </a:cubicBezTo>
                  <a:close/>
                  <a:moveTo>
                    <a:pt x="1137" y="7452"/>
                  </a:moveTo>
                  <a:cubicBezTo>
                    <a:pt x="1158" y="7461"/>
                    <a:pt x="1180" y="7466"/>
                    <a:pt x="1205" y="7471"/>
                  </a:cubicBezTo>
                  <a:cubicBezTo>
                    <a:pt x="1180" y="7466"/>
                    <a:pt x="1158" y="7461"/>
                    <a:pt x="1137" y="7452"/>
                  </a:cubicBez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9" name="Rectangle 206">
              <a:extLst>
                <a:ext uri="{FF2B5EF4-FFF2-40B4-BE49-F238E27FC236}">
                  <a16:creationId xmlns:a16="http://schemas.microsoft.com/office/drawing/2014/main" id="{FFFA7250-56D6-4F91-9DFC-422A37D077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576"/>
              <a:ext cx="755" cy="542"/>
            </a:xfrm>
            <a:prstGeom prst="rect">
              <a:avLst/>
            </a:prstGeom>
            <a:grpFill/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91" name="Roa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F6D1621-7288-4C41-BA88-E33B53BE378E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1885267" y="4329534"/>
            <a:ext cx="1185913" cy="407194"/>
          </a:xfrm>
          <a:custGeom>
            <a:avLst/>
            <a:gdLst>
              <a:gd name="connsiteX0" fmla="*/ 4446892 w 9153090"/>
              <a:gd name="connsiteY0" fmla="*/ 0 h 3142796"/>
              <a:gd name="connsiteX1" fmla="*/ 4535062 w 9153090"/>
              <a:gd name="connsiteY1" fmla="*/ 3325 h 3142796"/>
              <a:gd name="connsiteX2" fmla="*/ 3278401 w 9153090"/>
              <a:gd name="connsiteY2" fmla="*/ 375217 h 3142796"/>
              <a:gd name="connsiteX3" fmla="*/ 4547861 w 9153090"/>
              <a:gd name="connsiteY3" fmla="*/ 938517 h 3142796"/>
              <a:gd name="connsiteX4" fmla="*/ 2329861 w 9153090"/>
              <a:gd name="connsiteY4" fmla="*/ 1612482 h 3142796"/>
              <a:gd name="connsiteX5" fmla="*/ 9153090 w 9153090"/>
              <a:gd name="connsiteY5" fmla="*/ 3142796 h 3142796"/>
              <a:gd name="connsiteX6" fmla="*/ 6784993 w 9153090"/>
              <a:gd name="connsiteY6" fmla="*/ 3134850 h 3142796"/>
              <a:gd name="connsiteX7" fmla="*/ 6786749 w 9153090"/>
              <a:gd name="connsiteY7" fmla="*/ 3126593 h 3142796"/>
              <a:gd name="connsiteX8" fmla="*/ 6709008 w 9153090"/>
              <a:gd name="connsiteY8" fmla="*/ 3110444 h 3142796"/>
              <a:gd name="connsiteX9" fmla="*/ 6600928 w 9153090"/>
              <a:gd name="connsiteY9" fmla="*/ 3090019 h 3142796"/>
              <a:gd name="connsiteX10" fmla="*/ 6304182 w 9153090"/>
              <a:gd name="connsiteY10" fmla="*/ 3034921 h 3142796"/>
              <a:gd name="connsiteX11" fmla="*/ 5455187 w 9153090"/>
              <a:gd name="connsiteY11" fmla="*/ 2877702 h 3142796"/>
              <a:gd name="connsiteX12" fmla="*/ 4396194 w 9153090"/>
              <a:gd name="connsiteY12" fmla="*/ 2672034 h 3142796"/>
              <a:gd name="connsiteX13" fmla="*/ 3285057 w 9153090"/>
              <a:gd name="connsiteY13" fmla="*/ 2435967 h 3142796"/>
              <a:gd name="connsiteX14" fmla="*/ 2279156 w 9153090"/>
              <a:gd name="connsiteY14" fmla="*/ 2185176 h 3142796"/>
              <a:gd name="connsiteX15" fmla="*/ 1865324 w 9153090"/>
              <a:gd name="connsiteY15" fmla="*/ 2060731 h 3142796"/>
              <a:gd name="connsiteX16" fmla="*/ 1537293 w 9153090"/>
              <a:gd name="connsiteY16" fmla="*/ 1939135 h 3142796"/>
              <a:gd name="connsiteX17" fmla="*/ 1412147 w 9153090"/>
              <a:gd name="connsiteY17" fmla="*/ 1880237 h 3142796"/>
              <a:gd name="connsiteX18" fmla="*/ 1315919 w 9153090"/>
              <a:gd name="connsiteY18" fmla="*/ 1823714 h 3142796"/>
              <a:gd name="connsiteX19" fmla="*/ 1251924 w 9153090"/>
              <a:gd name="connsiteY19" fmla="*/ 1770041 h 3142796"/>
              <a:gd name="connsiteX20" fmla="*/ 1222534 w 9153090"/>
              <a:gd name="connsiteY20" fmla="*/ 1722543 h 3142796"/>
              <a:gd name="connsiteX21" fmla="*/ 1220164 w 9153090"/>
              <a:gd name="connsiteY21" fmla="*/ 1701643 h 3142796"/>
              <a:gd name="connsiteX22" fmla="*/ 1224904 w 9153090"/>
              <a:gd name="connsiteY22" fmla="*/ 1681694 h 3142796"/>
              <a:gd name="connsiteX23" fmla="*/ 1238651 w 9153090"/>
              <a:gd name="connsiteY23" fmla="*/ 1660795 h 3142796"/>
              <a:gd name="connsiteX24" fmla="*/ 1262352 w 9153090"/>
              <a:gd name="connsiteY24" fmla="*/ 1638946 h 3142796"/>
              <a:gd name="connsiteX25" fmla="*/ 1341990 w 9153090"/>
              <a:gd name="connsiteY25" fmla="*/ 1594772 h 3142796"/>
              <a:gd name="connsiteX26" fmla="*/ 1466187 w 9153090"/>
              <a:gd name="connsiteY26" fmla="*/ 1552974 h 3142796"/>
              <a:gd name="connsiteX27" fmla="*/ 1672392 w 9153090"/>
              <a:gd name="connsiteY27" fmla="*/ 1498826 h 3142796"/>
              <a:gd name="connsiteX28" fmla="*/ 2015119 w 9153090"/>
              <a:gd name="connsiteY28" fmla="*/ 1411429 h 3142796"/>
              <a:gd name="connsiteX29" fmla="*/ 2916258 w 9153090"/>
              <a:gd name="connsiteY29" fmla="*/ 1181062 h 3142796"/>
              <a:gd name="connsiteX30" fmla="*/ 3781371 w 9153090"/>
              <a:gd name="connsiteY30" fmla="*/ 954495 h 3142796"/>
              <a:gd name="connsiteX31" fmla="*/ 4078591 w 9153090"/>
              <a:gd name="connsiteY31" fmla="*/ 872323 h 3142796"/>
              <a:gd name="connsiteX32" fmla="*/ 4172924 w 9153090"/>
              <a:gd name="connsiteY32" fmla="*/ 843349 h 3142796"/>
              <a:gd name="connsiteX33" fmla="*/ 4203262 w 9153090"/>
              <a:gd name="connsiteY33" fmla="*/ 832899 h 3142796"/>
              <a:gd name="connsiteX34" fmla="*/ 4222697 w 9153090"/>
              <a:gd name="connsiteY34" fmla="*/ 824824 h 3142796"/>
              <a:gd name="connsiteX35" fmla="*/ 4239288 w 9153090"/>
              <a:gd name="connsiteY35" fmla="*/ 813425 h 3142796"/>
              <a:gd name="connsiteX36" fmla="*/ 4247821 w 9153090"/>
              <a:gd name="connsiteY36" fmla="*/ 799175 h 3142796"/>
              <a:gd name="connsiteX37" fmla="*/ 4246399 w 9153090"/>
              <a:gd name="connsiteY37" fmla="*/ 783026 h 3142796"/>
              <a:gd name="connsiteX38" fmla="*/ 4236444 w 9153090"/>
              <a:gd name="connsiteY38" fmla="*/ 768776 h 3142796"/>
              <a:gd name="connsiteX39" fmla="*/ 4197573 w 9153090"/>
              <a:gd name="connsiteY39" fmla="*/ 740752 h 3142796"/>
              <a:gd name="connsiteX40" fmla="*/ 4136897 w 9153090"/>
              <a:gd name="connsiteY40" fmla="*/ 712253 h 3142796"/>
              <a:gd name="connsiteX41" fmla="*/ 3961978 w 9153090"/>
              <a:gd name="connsiteY41" fmla="*/ 650030 h 3142796"/>
              <a:gd name="connsiteX42" fmla="*/ 3742500 w 9153090"/>
              <a:gd name="connsiteY42" fmla="*/ 585433 h 3142796"/>
              <a:gd name="connsiteX43" fmla="*/ 3511646 w 9153090"/>
              <a:gd name="connsiteY43" fmla="*/ 520360 h 3142796"/>
              <a:gd name="connsiteX44" fmla="*/ 3301174 w 9153090"/>
              <a:gd name="connsiteY44" fmla="*/ 459087 h 3142796"/>
              <a:gd name="connsiteX45" fmla="*/ 3213478 w 9153090"/>
              <a:gd name="connsiteY45" fmla="*/ 430588 h 3142796"/>
              <a:gd name="connsiteX46" fmla="*/ 3143795 w 9153090"/>
              <a:gd name="connsiteY46" fmla="*/ 403989 h 3142796"/>
              <a:gd name="connsiteX47" fmla="*/ 3094969 w 9153090"/>
              <a:gd name="connsiteY47" fmla="*/ 380715 h 3142796"/>
              <a:gd name="connsiteX48" fmla="*/ 3080274 w 9153090"/>
              <a:gd name="connsiteY48" fmla="*/ 369790 h 3142796"/>
              <a:gd name="connsiteX49" fmla="*/ 3072690 w 9153090"/>
              <a:gd name="connsiteY49" fmla="*/ 360766 h 3142796"/>
              <a:gd name="connsiteX50" fmla="*/ 3069846 w 9153090"/>
              <a:gd name="connsiteY50" fmla="*/ 348891 h 3142796"/>
              <a:gd name="connsiteX51" fmla="*/ 3072690 w 9153090"/>
              <a:gd name="connsiteY51" fmla="*/ 336541 h 3142796"/>
              <a:gd name="connsiteX52" fmla="*/ 3095443 w 9153090"/>
              <a:gd name="connsiteY52" fmla="*/ 309942 h 3142796"/>
              <a:gd name="connsiteX53" fmla="*/ 3140477 w 9153090"/>
              <a:gd name="connsiteY53" fmla="*/ 282868 h 3142796"/>
              <a:gd name="connsiteX54" fmla="*/ 3205419 w 9153090"/>
              <a:gd name="connsiteY54" fmla="*/ 255319 h 3142796"/>
              <a:gd name="connsiteX55" fmla="*/ 3380812 w 9153090"/>
              <a:gd name="connsiteY55" fmla="*/ 201646 h 3142796"/>
              <a:gd name="connsiteX56" fmla="*/ 3600764 w 9153090"/>
              <a:gd name="connsiteY56" fmla="*/ 150823 h 3142796"/>
              <a:gd name="connsiteX57" fmla="*/ 4084279 w 9153090"/>
              <a:gd name="connsiteY57" fmla="*/ 62951 h 3142796"/>
              <a:gd name="connsiteX58" fmla="*/ 4482468 w 9153090"/>
              <a:gd name="connsiteY58" fmla="*/ 4053 h 3142796"/>
              <a:gd name="connsiteX59" fmla="*/ 4482468 w 9153090"/>
              <a:gd name="connsiteY59" fmla="*/ 3578 h 3142796"/>
              <a:gd name="connsiteX60" fmla="*/ 4083805 w 9153090"/>
              <a:gd name="connsiteY60" fmla="*/ 61051 h 3142796"/>
              <a:gd name="connsiteX61" fmla="*/ 3599816 w 9153090"/>
              <a:gd name="connsiteY61" fmla="*/ 146073 h 3142796"/>
              <a:gd name="connsiteX62" fmla="*/ 3379390 w 9153090"/>
              <a:gd name="connsiteY62" fmla="*/ 195946 h 3142796"/>
              <a:gd name="connsiteX63" fmla="*/ 3203049 w 9153090"/>
              <a:gd name="connsiteY63" fmla="*/ 248670 h 3142796"/>
              <a:gd name="connsiteX64" fmla="*/ 3137633 w 9153090"/>
              <a:gd name="connsiteY64" fmla="*/ 276219 h 3142796"/>
              <a:gd name="connsiteX65" fmla="*/ 3090703 w 9153090"/>
              <a:gd name="connsiteY65" fmla="*/ 304243 h 3142796"/>
              <a:gd name="connsiteX66" fmla="*/ 3065579 w 9153090"/>
              <a:gd name="connsiteY66" fmla="*/ 333217 h 3142796"/>
              <a:gd name="connsiteX67" fmla="*/ 3062261 w 9153090"/>
              <a:gd name="connsiteY67" fmla="*/ 348416 h 3142796"/>
              <a:gd name="connsiteX68" fmla="*/ 3066053 w 9153090"/>
              <a:gd name="connsiteY68" fmla="*/ 364090 h 3142796"/>
              <a:gd name="connsiteX69" fmla="*/ 3075060 w 9153090"/>
              <a:gd name="connsiteY69" fmla="*/ 375490 h 3142796"/>
              <a:gd name="connsiteX70" fmla="*/ 3091177 w 9153090"/>
              <a:gd name="connsiteY70" fmla="*/ 386890 h 3142796"/>
              <a:gd name="connsiteX71" fmla="*/ 3140477 w 9153090"/>
              <a:gd name="connsiteY71" fmla="*/ 411114 h 3142796"/>
              <a:gd name="connsiteX72" fmla="*/ 3210634 w 9153090"/>
              <a:gd name="connsiteY72" fmla="*/ 438188 h 3142796"/>
              <a:gd name="connsiteX73" fmla="*/ 3298330 w 9153090"/>
              <a:gd name="connsiteY73" fmla="*/ 467162 h 3142796"/>
              <a:gd name="connsiteX74" fmla="*/ 3508801 w 9153090"/>
              <a:gd name="connsiteY74" fmla="*/ 529860 h 3142796"/>
              <a:gd name="connsiteX75" fmla="*/ 3739656 w 9153090"/>
              <a:gd name="connsiteY75" fmla="*/ 595882 h 3142796"/>
              <a:gd name="connsiteX76" fmla="*/ 3957712 w 9153090"/>
              <a:gd name="connsiteY76" fmla="*/ 661430 h 3142796"/>
              <a:gd name="connsiteX77" fmla="*/ 4131683 w 9153090"/>
              <a:gd name="connsiteY77" fmla="*/ 724128 h 3142796"/>
              <a:gd name="connsiteX78" fmla="*/ 4190937 w 9153090"/>
              <a:gd name="connsiteY78" fmla="*/ 752627 h 3142796"/>
              <a:gd name="connsiteX79" fmla="*/ 4226489 w 9153090"/>
              <a:gd name="connsiteY79" fmla="*/ 777801 h 3142796"/>
              <a:gd name="connsiteX80" fmla="*/ 4233600 w 9153090"/>
              <a:gd name="connsiteY80" fmla="*/ 788251 h 3142796"/>
              <a:gd name="connsiteX81" fmla="*/ 4234548 w 9153090"/>
              <a:gd name="connsiteY81" fmla="*/ 795850 h 3142796"/>
              <a:gd name="connsiteX82" fmla="*/ 4229334 w 9153090"/>
              <a:gd name="connsiteY82" fmla="*/ 803450 h 3142796"/>
              <a:gd name="connsiteX83" fmla="*/ 4216061 w 9153090"/>
              <a:gd name="connsiteY83" fmla="*/ 812000 h 3142796"/>
              <a:gd name="connsiteX84" fmla="*/ 4198521 w 9153090"/>
              <a:gd name="connsiteY84" fmla="*/ 819599 h 3142796"/>
              <a:gd name="connsiteX85" fmla="*/ 4168183 w 9153090"/>
              <a:gd name="connsiteY85" fmla="*/ 829574 h 3142796"/>
              <a:gd name="connsiteX86" fmla="*/ 4074798 w 9153090"/>
              <a:gd name="connsiteY86" fmla="*/ 857598 h 3142796"/>
              <a:gd name="connsiteX87" fmla="*/ 3777105 w 9153090"/>
              <a:gd name="connsiteY87" fmla="*/ 938345 h 3142796"/>
              <a:gd name="connsiteX88" fmla="*/ 2911044 w 9153090"/>
              <a:gd name="connsiteY88" fmla="*/ 1160162 h 3142796"/>
              <a:gd name="connsiteX89" fmla="*/ 2008483 w 9153090"/>
              <a:gd name="connsiteY89" fmla="*/ 1386255 h 3142796"/>
              <a:gd name="connsiteX90" fmla="*/ 1665282 w 9153090"/>
              <a:gd name="connsiteY90" fmla="*/ 1472226 h 3142796"/>
              <a:gd name="connsiteX91" fmla="*/ 1459077 w 9153090"/>
              <a:gd name="connsiteY91" fmla="*/ 1525425 h 3142796"/>
              <a:gd name="connsiteX92" fmla="*/ 1330613 w 9153090"/>
              <a:gd name="connsiteY92" fmla="*/ 1567698 h 3142796"/>
              <a:gd name="connsiteX93" fmla="*/ 1244339 w 9153090"/>
              <a:gd name="connsiteY93" fmla="*/ 1614721 h 3142796"/>
              <a:gd name="connsiteX94" fmla="*/ 1215897 w 9153090"/>
              <a:gd name="connsiteY94" fmla="*/ 1640846 h 3142796"/>
              <a:gd name="connsiteX95" fmla="*/ 1197884 w 9153090"/>
              <a:gd name="connsiteY95" fmla="*/ 1668870 h 3142796"/>
              <a:gd name="connsiteX96" fmla="*/ 1189825 w 9153090"/>
              <a:gd name="connsiteY96" fmla="*/ 1699743 h 3142796"/>
              <a:gd name="connsiteX97" fmla="*/ 1193617 w 9153090"/>
              <a:gd name="connsiteY97" fmla="*/ 1730617 h 3142796"/>
              <a:gd name="connsiteX98" fmla="*/ 1229644 w 9153090"/>
              <a:gd name="connsiteY98" fmla="*/ 1790465 h 3142796"/>
              <a:gd name="connsiteX99" fmla="*/ 1298379 w 9153090"/>
              <a:gd name="connsiteY99" fmla="*/ 1848888 h 3142796"/>
              <a:gd name="connsiteX100" fmla="*/ 1397452 w 9153090"/>
              <a:gd name="connsiteY100" fmla="*/ 1907786 h 3142796"/>
              <a:gd name="connsiteX101" fmla="*/ 1524494 w 9153090"/>
              <a:gd name="connsiteY101" fmla="*/ 1968109 h 3142796"/>
              <a:gd name="connsiteX102" fmla="*/ 1854895 w 9153090"/>
              <a:gd name="connsiteY102" fmla="*/ 2092555 h 3142796"/>
              <a:gd name="connsiteX103" fmla="*/ 2269676 w 9153090"/>
              <a:gd name="connsiteY103" fmla="*/ 2219850 h 3142796"/>
              <a:gd name="connsiteX104" fmla="*/ 3276051 w 9153090"/>
              <a:gd name="connsiteY104" fmla="*/ 2475866 h 3142796"/>
              <a:gd name="connsiteX105" fmla="*/ 4386713 w 9153090"/>
              <a:gd name="connsiteY105" fmla="*/ 2718108 h 3142796"/>
              <a:gd name="connsiteX106" fmla="*/ 5445706 w 9153090"/>
              <a:gd name="connsiteY106" fmla="*/ 2929475 h 3142796"/>
              <a:gd name="connsiteX107" fmla="*/ 6294228 w 9153090"/>
              <a:gd name="connsiteY107" fmla="*/ 3090969 h 3142796"/>
              <a:gd name="connsiteX108" fmla="*/ 6519199 w 9153090"/>
              <a:gd name="connsiteY108" fmla="*/ 3133959 h 3142796"/>
              <a:gd name="connsiteX109" fmla="*/ 4057237 w 9153090"/>
              <a:gd name="connsiteY109" fmla="*/ 3125698 h 3142796"/>
              <a:gd name="connsiteX110" fmla="*/ 349825 w 9153090"/>
              <a:gd name="connsiteY110" fmla="*/ 1535064 h 3142796"/>
              <a:gd name="connsiteX111" fmla="*/ 3549547 w 9153090"/>
              <a:gd name="connsiteY111" fmla="*/ 861574 h 3142796"/>
              <a:gd name="connsiteX112" fmla="*/ 2872154 w 9153090"/>
              <a:gd name="connsiteY112" fmla="*/ 397540 h 3142796"/>
              <a:gd name="connsiteX113" fmla="*/ 4446892 w 9153090"/>
              <a:gd name="connsiteY113" fmla="*/ 0 h 314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9153090" h="3142796">
                <a:moveTo>
                  <a:pt x="4446892" y="0"/>
                </a:moveTo>
                <a:lnTo>
                  <a:pt x="4535062" y="3325"/>
                </a:lnTo>
                <a:cubicBezTo>
                  <a:pt x="4227888" y="59845"/>
                  <a:pt x="2965065" y="201382"/>
                  <a:pt x="3278401" y="375217"/>
                </a:cubicBezTo>
                <a:cubicBezTo>
                  <a:pt x="3481761" y="488257"/>
                  <a:pt x="5255592" y="707687"/>
                  <a:pt x="4547861" y="938517"/>
                </a:cubicBezTo>
                <a:cubicBezTo>
                  <a:pt x="3576567" y="1255314"/>
                  <a:pt x="3386480" y="1295685"/>
                  <a:pt x="2329861" y="1612482"/>
                </a:cubicBezTo>
                <a:cubicBezTo>
                  <a:pt x="1277508" y="1927854"/>
                  <a:pt x="6085623" y="2544349"/>
                  <a:pt x="9153090" y="3142796"/>
                </a:cubicBezTo>
                <a:lnTo>
                  <a:pt x="6784993" y="3134850"/>
                </a:lnTo>
                <a:lnTo>
                  <a:pt x="6786749" y="3126593"/>
                </a:lnTo>
                <a:cubicBezTo>
                  <a:pt x="6760677" y="3120893"/>
                  <a:pt x="6735080" y="3115669"/>
                  <a:pt x="6709008" y="3110444"/>
                </a:cubicBezTo>
                <a:cubicBezTo>
                  <a:pt x="6672980" y="3103794"/>
                  <a:pt x="6636954" y="3096669"/>
                  <a:pt x="6600928" y="3090019"/>
                </a:cubicBezTo>
                <a:cubicBezTo>
                  <a:pt x="6502328" y="3071495"/>
                  <a:pt x="6403255" y="3052971"/>
                  <a:pt x="6304182" y="3034921"/>
                </a:cubicBezTo>
                <a:cubicBezTo>
                  <a:pt x="6021184" y="2982673"/>
                  <a:pt x="5738185" y="2930900"/>
                  <a:pt x="5455187" y="2877702"/>
                </a:cubicBezTo>
                <a:cubicBezTo>
                  <a:pt x="5102031" y="2811204"/>
                  <a:pt x="4748875" y="2743282"/>
                  <a:pt x="4396194" y="2672034"/>
                </a:cubicBezTo>
                <a:cubicBezTo>
                  <a:pt x="4025025" y="2597462"/>
                  <a:pt x="3654330" y="2519565"/>
                  <a:pt x="3285057" y="2435967"/>
                </a:cubicBezTo>
                <a:cubicBezTo>
                  <a:pt x="2948019" y="2359020"/>
                  <a:pt x="2611928" y="2278273"/>
                  <a:pt x="2279156" y="2185176"/>
                </a:cubicBezTo>
                <a:cubicBezTo>
                  <a:pt x="2140264" y="2146703"/>
                  <a:pt x="2002320" y="2105854"/>
                  <a:pt x="1865324" y="2060731"/>
                </a:cubicBezTo>
                <a:cubicBezTo>
                  <a:pt x="1754400" y="2023682"/>
                  <a:pt x="1644424" y="1984733"/>
                  <a:pt x="1537293" y="1939135"/>
                </a:cubicBezTo>
                <a:cubicBezTo>
                  <a:pt x="1495103" y="1920611"/>
                  <a:pt x="1452914" y="1901611"/>
                  <a:pt x="1412147" y="1880237"/>
                </a:cubicBezTo>
                <a:cubicBezTo>
                  <a:pt x="1378965" y="1863138"/>
                  <a:pt x="1346257" y="1844613"/>
                  <a:pt x="1315919" y="1823714"/>
                </a:cubicBezTo>
                <a:cubicBezTo>
                  <a:pt x="1292691" y="1807565"/>
                  <a:pt x="1270411" y="1790465"/>
                  <a:pt x="1251924" y="1770041"/>
                </a:cubicBezTo>
                <a:cubicBezTo>
                  <a:pt x="1238651" y="1755317"/>
                  <a:pt x="1227274" y="1739642"/>
                  <a:pt x="1222534" y="1722543"/>
                </a:cubicBezTo>
                <a:cubicBezTo>
                  <a:pt x="1220637" y="1715418"/>
                  <a:pt x="1219690" y="1708768"/>
                  <a:pt x="1220164" y="1701643"/>
                </a:cubicBezTo>
                <a:cubicBezTo>
                  <a:pt x="1220164" y="1694994"/>
                  <a:pt x="1222060" y="1687869"/>
                  <a:pt x="1224904" y="1681694"/>
                </a:cubicBezTo>
                <a:cubicBezTo>
                  <a:pt x="1228222" y="1674094"/>
                  <a:pt x="1232963" y="1666970"/>
                  <a:pt x="1238651" y="1660795"/>
                </a:cubicBezTo>
                <a:cubicBezTo>
                  <a:pt x="1245287" y="1652720"/>
                  <a:pt x="1253346" y="1645595"/>
                  <a:pt x="1262352" y="1638946"/>
                </a:cubicBezTo>
                <a:cubicBezTo>
                  <a:pt x="1285580" y="1620421"/>
                  <a:pt x="1313548" y="1607122"/>
                  <a:pt x="1341990" y="1594772"/>
                </a:cubicBezTo>
                <a:cubicBezTo>
                  <a:pt x="1381809" y="1577673"/>
                  <a:pt x="1423998" y="1564848"/>
                  <a:pt x="1466187" y="1552974"/>
                </a:cubicBezTo>
                <a:cubicBezTo>
                  <a:pt x="1534922" y="1534449"/>
                  <a:pt x="1603657" y="1516875"/>
                  <a:pt x="1672392" y="1498826"/>
                </a:cubicBezTo>
                <a:cubicBezTo>
                  <a:pt x="1786635" y="1469377"/>
                  <a:pt x="1900877" y="1440403"/>
                  <a:pt x="2015119" y="1411429"/>
                </a:cubicBezTo>
                <a:cubicBezTo>
                  <a:pt x="2315183" y="1334481"/>
                  <a:pt x="2615721" y="1258009"/>
                  <a:pt x="2916258" y="1181062"/>
                </a:cubicBezTo>
                <a:cubicBezTo>
                  <a:pt x="3204945" y="1106489"/>
                  <a:pt x="3493158" y="1032392"/>
                  <a:pt x="3781371" y="954495"/>
                </a:cubicBezTo>
                <a:cubicBezTo>
                  <a:pt x="3880444" y="927896"/>
                  <a:pt x="3979992" y="900822"/>
                  <a:pt x="4078591" y="872323"/>
                </a:cubicBezTo>
                <a:cubicBezTo>
                  <a:pt x="4110351" y="862823"/>
                  <a:pt x="4141637" y="853798"/>
                  <a:pt x="4172924" y="843349"/>
                </a:cubicBezTo>
                <a:cubicBezTo>
                  <a:pt x="4182878" y="840024"/>
                  <a:pt x="4193307" y="836699"/>
                  <a:pt x="4203262" y="832899"/>
                </a:cubicBezTo>
                <a:cubicBezTo>
                  <a:pt x="4209898" y="830524"/>
                  <a:pt x="4216061" y="828149"/>
                  <a:pt x="4222697" y="824824"/>
                </a:cubicBezTo>
                <a:cubicBezTo>
                  <a:pt x="4228386" y="821974"/>
                  <a:pt x="4234074" y="818649"/>
                  <a:pt x="4239288" y="813425"/>
                </a:cubicBezTo>
                <a:cubicBezTo>
                  <a:pt x="4243081" y="810100"/>
                  <a:pt x="4246399" y="804875"/>
                  <a:pt x="4247821" y="799175"/>
                </a:cubicBezTo>
                <a:cubicBezTo>
                  <a:pt x="4249243" y="793475"/>
                  <a:pt x="4248295" y="787776"/>
                  <a:pt x="4246399" y="783026"/>
                </a:cubicBezTo>
                <a:cubicBezTo>
                  <a:pt x="4244029" y="777326"/>
                  <a:pt x="4240236" y="772576"/>
                  <a:pt x="4236444" y="768776"/>
                </a:cubicBezTo>
                <a:cubicBezTo>
                  <a:pt x="4225067" y="756902"/>
                  <a:pt x="4211320" y="748352"/>
                  <a:pt x="4197573" y="740752"/>
                </a:cubicBezTo>
                <a:cubicBezTo>
                  <a:pt x="4178138" y="729828"/>
                  <a:pt x="4157280" y="720803"/>
                  <a:pt x="4136897" y="712253"/>
                </a:cubicBezTo>
                <a:cubicBezTo>
                  <a:pt x="4079539" y="688029"/>
                  <a:pt x="4020758" y="669030"/>
                  <a:pt x="3961978" y="650030"/>
                </a:cubicBezTo>
                <a:cubicBezTo>
                  <a:pt x="3888977" y="627231"/>
                  <a:pt x="3815976" y="606332"/>
                  <a:pt x="3742500" y="585433"/>
                </a:cubicBezTo>
                <a:cubicBezTo>
                  <a:pt x="3665707" y="563583"/>
                  <a:pt x="3588439" y="542209"/>
                  <a:pt x="3511646" y="520360"/>
                </a:cubicBezTo>
                <a:cubicBezTo>
                  <a:pt x="3441014" y="500886"/>
                  <a:pt x="3370857" y="480461"/>
                  <a:pt x="3301174" y="459087"/>
                </a:cubicBezTo>
                <a:cubicBezTo>
                  <a:pt x="3271784" y="450062"/>
                  <a:pt x="3242394" y="440563"/>
                  <a:pt x="3213478" y="430588"/>
                </a:cubicBezTo>
                <a:cubicBezTo>
                  <a:pt x="3190250" y="422513"/>
                  <a:pt x="3166549" y="413964"/>
                  <a:pt x="3143795" y="403989"/>
                </a:cubicBezTo>
                <a:cubicBezTo>
                  <a:pt x="3126730" y="397339"/>
                  <a:pt x="3110139" y="389740"/>
                  <a:pt x="3094969" y="380715"/>
                </a:cubicBezTo>
                <a:cubicBezTo>
                  <a:pt x="3089755" y="377390"/>
                  <a:pt x="3085015" y="374065"/>
                  <a:pt x="3080274" y="369790"/>
                </a:cubicBezTo>
                <a:cubicBezTo>
                  <a:pt x="3077430" y="366940"/>
                  <a:pt x="3074586" y="364090"/>
                  <a:pt x="3072690" y="360766"/>
                </a:cubicBezTo>
                <a:cubicBezTo>
                  <a:pt x="3070794" y="356966"/>
                  <a:pt x="3069846" y="353166"/>
                  <a:pt x="3069846" y="348891"/>
                </a:cubicBezTo>
                <a:cubicBezTo>
                  <a:pt x="3069846" y="344616"/>
                  <a:pt x="3070794" y="340341"/>
                  <a:pt x="3072690" y="336541"/>
                </a:cubicBezTo>
                <a:cubicBezTo>
                  <a:pt x="3076956" y="326092"/>
                  <a:pt x="3085963" y="317542"/>
                  <a:pt x="3095443" y="309942"/>
                </a:cubicBezTo>
                <a:cubicBezTo>
                  <a:pt x="3109190" y="299018"/>
                  <a:pt x="3124834" y="290468"/>
                  <a:pt x="3140477" y="282868"/>
                </a:cubicBezTo>
                <a:cubicBezTo>
                  <a:pt x="3161334" y="272419"/>
                  <a:pt x="3183140" y="263394"/>
                  <a:pt x="3205419" y="255319"/>
                </a:cubicBezTo>
                <a:cubicBezTo>
                  <a:pt x="3262778" y="233945"/>
                  <a:pt x="3321558" y="216846"/>
                  <a:pt x="3380812" y="201646"/>
                </a:cubicBezTo>
                <a:cubicBezTo>
                  <a:pt x="3453813" y="182647"/>
                  <a:pt x="3527289" y="166022"/>
                  <a:pt x="3600764" y="150823"/>
                </a:cubicBezTo>
                <a:cubicBezTo>
                  <a:pt x="3760988" y="117099"/>
                  <a:pt x="3922633" y="89075"/>
                  <a:pt x="4084279" y="62951"/>
                </a:cubicBezTo>
                <a:cubicBezTo>
                  <a:pt x="4217009" y="42052"/>
                  <a:pt x="4349264" y="22577"/>
                  <a:pt x="4482468" y="4053"/>
                </a:cubicBezTo>
                <a:lnTo>
                  <a:pt x="4482468" y="3578"/>
                </a:lnTo>
                <a:cubicBezTo>
                  <a:pt x="4349264" y="21627"/>
                  <a:pt x="4216535" y="40152"/>
                  <a:pt x="4083805" y="61051"/>
                </a:cubicBezTo>
                <a:cubicBezTo>
                  <a:pt x="3922159" y="85750"/>
                  <a:pt x="3760040" y="113299"/>
                  <a:pt x="3599816" y="146073"/>
                </a:cubicBezTo>
                <a:cubicBezTo>
                  <a:pt x="3525867" y="160798"/>
                  <a:pt x="3452391" y="176947"/>
                  <a:pt x="3379390" y="195946"/>
                </a:cubicBezTo>
                <a:cubicBezTo>
                  <a:pt x="3320136" y="211146"/>
                  <a:pt x="3260407" y="227295"/>
                  <a:pt x="3203049" y="248670"/>
                </a:cubicBezTo>
                <a:cubicBezTo>
                  <a:pt x="3180770" y="256744"/>
                  <a:pt x="3158964" y="265769"/>
                  <a:pt x="3137633" y="276219"/>
                </a:cubicBezTo>
                <a:cubicBezTo>
                  <a:pt x="3121515" y="283818"/>
                  <a:pt x="3105398" y="292843"/>
                  <a:pt x="3090703" y="304243"/>
                </a:cubicBezTo>
                <a:cubicBezTo>
                  <a:pt x="3080748" y="311842"/>
                  <a:pt x="3071268" y="320867"/>
                  <a:pt x="3065579" y="333217"/>
                </a:cubicBezTo>
                <a:cubicBezTo>
                  <a:pt x="3063683" y="337966"/>
                  <a:pt x="3062261" y="343191"/>
                  <a:pt x="3062261" y="348416"/>
                </a:cubicBezTo>
                <a:cubicBezTo>
                  <a:pt x="3062261" y="354116"/>
                  <a:pt x="3063683" y="359341"/>
                  <a:pt x="3066053" y="364090"/>
                </a:cubicBezTo>
                <a:cubicBezTo>
                  <a:pt x="3068423" y="368840"/>
                  <a:pt x="3071742" y="372165"/>
                  <a:pt x="3075060" y="375490"/>
                </a:cubicBezTo>
                <a:cubicBezTo>
                  <a:pt x="3080274" y="379765"/>
                  <a:pt x="3085489" y="383565"/>
                  <a:pt x="3091177" y="386890"/>
                </a:cubicBezTo>
                <a:cubicBezTo>
                  <a:pt x="3106820" y="396389"/>
                  <a:pt x="3123411" y="403989"/>
                  <a:pt x="3140477" y="411114"/>
                </a:cubicBezTo>
                <a:cubicBezTo>
                  <a:pt x="3163704" y="421088"/>
                  <a:pt x="3186932" y="429638"/>
                  <a:pt x="3210634" y="438188"/>
                </a:cubicBezTo>
                <a:cubicBezTo>
                  <a:pt x="3240024" y="448162"/>
                  <a:pt x="3268940" y="457662"/>
                  <a:pt x="3298330" y="467162"/>
                </a:cubicBezTo>
                <a:cubicBezTo>
                  <a:pt x="3368013" y="489011"/>
                  <a:pt x="3438644" y="509435"/>
                  <a:pt x="3508801" y="529860"/>
                </a:cubicBezTo>
                <a:cubicBezTo>
                  <a:pt x="3585595" y="551709"/>
                  <a:pt x="3662863" y="573558"/>
                  <a:pt x="3739656" y="595882"/>
                </a:cubicBezTo>
                <a:cubicBezTo>
                  <a:pt x="3812657" y="616782"/>
                  <a:pt x="3885659" y="638631"/>
                  <a:pt x="3957712" y="661430"/>
                </a:cubicBezTo>
                <a:cubicBezTo>
                  <a:pt x="4016492" y="680429"/>
                  <a:pt x="4074798" y="699904"/>
                  <a:pt x="4131683" y="724128"/>
                </a:cubicBezTo>
                <a:cubicBezTo>
                  <a:pt x="4152066" y="732677"/>
                  <a:pt x="4171975" y="741702"/>
                  <a:pt x="4190937" y="752627"/>
                </a:cubicBezTo>
                <a:cubicBezTo>
                  <a:pt x="4204210" y="759752"/>
                  <a:pt x="4217009" y="767826"/>
                  <a:pt x="4226489" y="777801"/>
                </a:cubicBezTo>
                <a:cubicBezTo>
                  <a:pt x="4229334" y="781126"/>
                  <a:pt x="4232178" y="784451"/>
                  <a:pt x="4233600" y="788251"/>
                </a:cubicBezTo>
                <a:cubicBezTo>
                  <a:pt x="4234548" y="790625"/>
                  <a:pt x="4235022" y="793475"/>
                  <a:pt x="4234548" y="795850"/>
                </a:cubicBezTo>
                <a:cubicBezTo>
                  <a:pt x="4234074" y="798225"/>
                  <a:pt x="4232178" y="800600"/>
                  <a:pt x="4229334" y="803450"/>
                </a:cubicBezTo>
                <a:cubicBezTo>
                  <a:pt x="4226015" y="806775"/>
                  <a:pt x="4221275" y="809625"/>
                  <a:pt x="4216061" y="812000"/>
                </a:cubicBezTo>
                <a:cubicBezTo>
                  <a:pt x="4210846" y="814850"/>
                  <a:pt x="4204684" y="817225"/>
                  <a:pt x="4198521" y="819599"/>
                </a:cubicBezTo>
                <a:cubicBezTo>
                  <a:pt x="4188567" y="822924"/>
                  <a:pt x="4178612" y="826249"/>
                  <a:pt x="4168183" y="829574"/>
                </a:cubicBezTo>
                <a:cubicBezTo>
                  <a:pt x="4137371" y="839549"/>
                  <a:pt x="4106085" y="848573"/>
                  <a:pt x="4074798" y="857598"/>
                </a:cubicBezTo>
                <a:cubicBezTo>
                  <a:pt x="3975725" y="886097"/>
                  <a:pt x="3876178" y="912221"/>
                  <a:pt x="3777105" y="938345"/>
                </a:cubicBezTo>
                <a:cubicBezTo>
                  <a:pt x="3488892" y="1014818"/>
                  <a:pt x="3199731" y="1087490"/>
                  <a:pt x="2911044" y="1160162"/>
                </a:cubicBezTo>
                <a:cubicBezTo>
                  <a:pt x="2610506" y="1236160"/>
                  <a:pt x="2309494" y="1311207"/>
                  <a:pt x="2008483" y="1386255"/>
                </a:cubicBezTo>
                <a:cubicBezTo>
                  <a:pt x="1894240" y="1414754"/>
                  <a:pt x="1779998" y="1443252"/>
                  <a:pt x="1665282" y="1472226"/>
                </a:cubicBezTo>
                <a:cubicBezTo>
                  <a:pt x="1596547" y="1489801"/>
                  <a:pt x="1527812" y="1506900"/>
                  <a:pt x="1459077" y="1525425"/>
                </a:cubicBezTo>
                <a:cubicBezTo>
                  <a:pt x="1415466" y="1536824"/>
                  <a:pt x="1372328" y="1550124"/>
                  <a:pt x="1330613" y="1567698"/>
                </a:cubicBezTo>
                <a:cubicBezTo>
                  <a:pt x="1300749" y="1580048"/>
                  <a:pt x="1271359" y="1594772"/>
                  <a:pt x="1244339" y="1614721"/>
                </a:cubicBezTo>
                <a:cubicBezTo>
                  <a:pt x="1234385" y="1622321"/>
                  <a:pt x="1224904" y="1630871"/>
                  <a:pt x="1215897" y="1640846"/>
                </a:cubicBezTo>
                <a:cubicBezTo>
                  <a:pt x="1208787" y="1648920"/>
                  <a:pt x="1202624" y="1658420"/>
                  <a:pt x="1197884" y="1668870"/>
                </a:cubicBezTo>
                <a:cubicBezTo>
                  <a:pt x="1193617" y="1678369"/>
                  <a:pt x="1190773" y="1688819"/>
                  <a:pt x="1189825" y="1699743"/>
                </a:cubicBezTo>
                <a:cubicBezTo>
                  <a:pt x="1189351" y="1710193"/>
                  <a:pt x="1190773" y="1720643"/>
                  <a:pt x="1193617" y="1730617"/>
                </a:cubicBezTo>
                <a:cubicBezTo>
                  <a:pt x="1200728" y="1754367"/>
                  <a:pt x="1214475" y="1773841"/>
                  <a:pt x="1229644" y="1790465"/>
                </a:cubicBezTo>
                <a:cubicBezTo>
                  <a:pt x="1250028" y="1813264"/>
                  <a:pt x="1274204" y="1831789"/>
                  <a:pt x="1298379" y="1848888"/>
                </a:cubicBezTo>
                <a:cubicBezTo>
                  <a:pt x="1330140" y="1870737"/>
                  <a:pt x="1363796" y="1890212"/>
                  <a:pt x="1397452" y="1907786"/>
                </a:cubicBezTo>
                <a:cubicBezTo>
                  <a:pt x="1439167" y="1929635"/>
                  <a:pt x="1481831" y="1949585"/>
                  <a:pt x="1524494" y="1968109"/>
                </a:cubicBezTo>
                <a:cubicBezTo>
                  <a:pt x="1632573" y="2015132"/>
                  <a:pt x="1743497" y="2055031"/>
                  <a:pt x="1854895" y="2092555"/>
                </a:cubicBezTo>
                <a:cubicBezTo>
                  <a:pt x="1991891" y="2138628"/>
                  <a:pt x="2130309" y="2180426"/>
                  <a:pt x="2269676" y="2219850"/>
                </a:cubicBezTo>
                <a:cubicBezTo>
                  <a:pt x="2602448" y="2314847"/>
                  <a:pt x="2939012" y="2397494"/>
                  <a:pt x="3276051" y="2475866"/>
                </a:cubicBezTo>
                <a:cubicBezTo>
                  <a:pt x="3645323" y="2561363"/>
                  <a:pt x="4015544" y="2641635"/>
                  <a:pt x="4386713" y="2718108"/>
                </a:cubicBezTo>
                <a:cubicBezTo>
                  <a:pt x="4739395" y="2791255"/>
                  <a:pt x="5092076" y="2861078"/>
                  <a:pt x="5445706" y="2929475"/>
                </a:cubicBezTo>
                <a:cubicBezTo>
                  <a:pt x="5728230" y="2984098"/>
                  <a:pt x="6011228" y="3037296"/>
                  <a:pt x="6294228" y="3090969"/>
                </a:cubicBezTo>
                <a:lnTo>
                  <a:pt x="6519199" y="3133959"/>
                </a:lnTo>
                <a:lnTo>
                  <a:pt x="4057237" y="3125698"/>
                </a:lnTo>
                <a:cubicBezTo>
                  <a:pt x="3356142" y="2881569"/>
                  <a:pt x="-1295069" y="2071766"/>
                  <a:pt x="349825" y="1535064"/>
                </a:cubicBezTo>
                <a:cubicBezTo>
                  <a:pt x="1389379" y="1195944"/>
                  <a:pt x="2628975" y="1079104"/>
                  <a:pt x="3549547" y="861574"/>
                </a:cubicBezTo>
                <a:cubicBezTo>
                  <a:pt x="4293305" y="685839"/>
                  <a:pt x="2775926" y="548101"/>
                  <a:pt x="2872154" y="397540"/>
                </a:cubicBezTo>
                <a:cubicBezTo>
                  <a:pt x="3002987" y="192833"/>
                  <a:pt x="4050126" y="53670"/>
                  <a:pt x="4446892" y="0"/>
                </a:cubicBez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2" name="Tree1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F2B6DA5-AE1E-4DE3-8423-656BD775B81D}"/>
              </a:ext>
            </a:extLst>
          </p:cNvPr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4026334" y="4323849"/>
            <a:ext cx="266142" cy="425425"/>
          </a:xfrm>
          <a:custGeom>
            <a:avLst/>
            <a:gdLst>
              <a:gd name="T0" fmla="*/ 4475 w 6099"/>
              <a:gd name="T1" fmla="*/ 4769 h 9759"/>
              <a:gd name="T2" fmla="*/ 4299 w 6099"/>
              <a:gd name="T3" fmla="*/ 3797 h 9759"/>
              <a:gd name="T4" fmla="*/ 3787 w 6099"/>
              <a:gd name="T5" fmla="*/ 4642 h 9759"/>
              <a:gd name="T6" fmla="*/ 4017 w 6099"/>
              <a:gd name="T7" fmla="*/ 5321 h 9759"/>
              <a:gd name="T8" fmla="*/ 4475 w 6099"/>
              <a:gd name="T9" fmla="*/ 4769 h 9759"/>
              <a:gd name="T10" fmla="*/ 4294 w 6099"/>
              <a:gd name="T11" fmla="*/ 5865 h 9759"/>
              <a:gd name="T12" fmla="*/ 4840 w 6099"/>
              <a:gd name="T13" fmla="*/ 6330 h 9759"/>
              <a:gd name="T14" fmla="*/ 5814 w 6099"/>
              <a:gd name="T15" fmla="*/ 6167 h 9759"/>
              <a:gd name="T16" fmla="*/ 4976 w 6099"/>
              <a:gd name="T17" fmla="*/ 5644 h 9759"/>
              <a:gd name="T18" fmla="*/ 4294 w 6099"/>
              <a:gd name="T19" fmla="*/ 5865 h 9759"/>
              <a:gd name="T20" fmla="*/ 4460 w 6099"/>
              <a:gd name="T21" fmla="*/ 2245 h 9759"/>
              <a:gd name="T22" fmla="*/ 4775 w 6099"/>
              <a:gd name="T23" fmla="*/ 1308 h 9759"/>
              <a:gd name="T24" fmla="*/ 3919 w 6099"/>
              <a:gd name="T25" fmla="*/ 1802 h 9759"/>
              <a:gd name="T26" fmla="*/ 3793 w 6099"/>
              <a:gd name="T27" fmla="*/ 2508 h 9759"/>
              <a:gd name="T28" fmla="*/ 4460 w 6099"/>
              <a:gd name="T29" fmla="*/ 2245 h 9759"/>
              <a:gd name="T30" fmla="*/ 853 w 6099"/>
              <a:gd name="T31" fmla="*/ 3603 h 9759"/>
              <a:gd name="T32" fmla="*/ 1461 w 6099"/>
              <a:gd name="T33" fmla="*/ 3505 h 9759"/>
              <a:gd name="T34" fmla="*/ 1059 w 6099"/>
              <a:gd name="T35" fmla="*/ 3038 h 9759"/>
              <a:gd name="T36" fmla="*/ 210 w 6099"/>
              <a:gd name="T37" fmla="*/ 3047 h 9759"/>
              <a:gd name="T38" fmla="*/ 853 w 6099"/>
              <a:gd name="T39" fmla="*/ 3603 h 9759"/>
              <a:gd name="T40" fmla="*/ 2433 w 6099"/>
              <a:gd name="T41" fmla="*/ 4843 h 9759"/>
              <a:gd name="T42" fmla="*/ 2220 w 6099"/>
              <a:gd name="T43" fmla="*/ 5155 h 9759"/>
              <a:gd name="T44" fmla="*/ 1415 w 6099"/>
              <a:gd name="T45" fmla="*/ 7476 h 9759"/>
              <a:gd name="T46" fmla="*/ 1661 w 6099"/>
              <a:gd name="T47" fmla="*/ 9046 h 9759"/>
              <a:gd name="T48" fmla="*/ 2666 w 6099"/>
              <a:gd name="T49" fmla="*/ 9046 h 9759"/>
              <a:gd name="T50" fmla="*/ 2274 w 6099"/>
              <a:gd name="T51" fmla="*/ 6389 h 9759"/>
              <a:gd name="T52" fmla="*/ 4874 w 6099"/>
              <a:gd name="T53" fmla="*/ 5159 h 9759"/>
              <a:gd name="T54" fmla="*/ 5761 w 6099"/>
              <a:gd name="T55" fmla="*/ 4796 h 9759"/>
              <a:gd name="T56" fmla="*/ 6075 w 6099"/>
              <a:gd name="T57" fmla="*/ 3321 h 9759"/>
              <a:gd name="T58" fmla="*/ 4984 w 6099"/>
              <a:gd name="T59" fmla="*/ 4170 h 9759"/>
              <a:gd name="T60" fmla="*/ 4790 w 6099"/>
              <a:gd name="T61" fmla="*/ 5025 h 9759"/>
              <a:gd name="T62" fmla="*/ 2468 w 6099"/>
              <a:gd name="T63" fmla="*/ 5804 h 9759"/>
              <a:gd name="T64" fmla="*/ 2664 w 6099"/>
              <a:gd name="T65" fmla="*/ 5393 h 9759"/>
              <a:gd name="T66" fmla="*/ 3554 w 6099"/>
              <a:gd name="T67" fmla="*/ 3216 h 9759"/>
              <a:gd name="T68" fmla="*/ 3566 w 6099"/>
              <a:gd name="T69" fmla="*/ 1986 h 9759"/>
              <a:gd name="T70" fmla="*/ 3702 w 6099"/>
              <a:gd name="T71" fmla="*/ 1040 h 9759"/>
              <a:gd name="T72" fmla="*/ 2799 w 6099"/>
              <a:gd name="T73" fmla="*/ 0 h 9759"/>
              <a:gd name="T74" fmla="*/ 2788 w 6099"/>
              <a:gd name="T75" fmla="*/ 1378 h 9759"/>
              <a:gd name="T76" fmla="*/ 3456 w 6099"/>
              <a:gd name="T77" fmla="*/ 1984 h 9759"/>
              <a:gd name="T78" fmla="*/ 2616 w 6099"/>
              <a:gd name="T79" fmla="*/ 4560 h 9759"/>
              <a:gd name="T80" fmla="*/ 1665 w 6099"/>
              <a:gd name="T81" fmla="*/ 3327 h 9759"/>
              <a:gd name="T82" fmla="*/ 2014 w 6099"/>
              <a:gd name="T83" fmla="*/ 2756 h 9759"/>
              <a:gd name="T84" fmla="*/ 1718 w 6099"/>
              <a:gd name="T85" fmla="*/ 1787 h 9759"/>
              <a:gd name="T86" fmla="*/ 1299 w 6099"/>
              <a:gd name="T87" fmla="*/ 2709 h 9759"/>
              <a:gd name="T88" fmla="*/ 1571 w 6099"/>
              <a:gd name="T89" fmla="*/ 3321 h 9759"/>
              <a:gd name="T90" fmla="*/ 2433 w 6099"/>
              <a:gd name="T91" fmla="*/ 4843 h 9759"/>
              <a:gd name="T92" fmla="*/ 0 w 6099"/>
              <a:gd name="T93" fmla="*/ 9759 h 9759"/>
              <a:gd name="T94" fmla="*/ 4288 w 6099"/>
              <a:gd name="T95" fmla="*/ 9759 h 9759"/>
              <a:gd name="T96" fmla="*/ 4288 w 6099"/>
              <a:gd name="T97" fmla="*/ 9336 h 9759"/>
              <a:gd name="T98" fmla="*/ 0 w 6099"/>
              <a:gd name="T99" fmla="*/ 9336 h 9759"/>
              <a:gd name="T100" fmla="*/ 0 w 6099"/>
              <a:gd name="T101" fmla="*/ 9759 h 9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099" h="9759">
                <a:moveTo>
                  <a:pt x="4475" y="4769"/>
                </a:moveTo>
                <a:cubicBezTo>
                  <a:pt x="4542" y="4403"/>
                  <a:pt x="4397" y="4115"/>
                  <a:pt x="4299" y="3797"/>
                </a:cubicBezTo>
                <a:cubicBezTo>
                  <a:pt x="4095" y="4059"/>
                  <a:pt x="3855" y="4276"/>
                  <a:pt x="3787" y="4642"/>
                </a:cubicBezTo>
                <a:cubicBezTo>
                  <a:pt x="3744" y="4879"/>
                  <a:pt x="3846" y="5068"/>
                  <a:pt x="4017" y="5321"/>
                </a:cubicBezTo>
                <a:cubicBezTo>
                  <a:pt x="4268" y="5146"/>
                  <a:pt x="4431" y="5006"/>
                  <a:pt x="4475" y="4769"/>
                </a:cubicBezTo>
                <a:close/>
                <a:moveTo>
                  <a:pt x="4294" y="5865"/>
                </a:moveTo>
                <a:cubicBezTo>
                  <a:pt x="4466" y="6118"/>
                  <a:pt x="4604" y="6283"/>
                  <a:pt x="4840" y="6330"/>
                </a:cubicBezTo>
                <a:cubicBezTo>
                  <a:pt x="5205" y="6402"/>
                  <a:pt x="5495" y="6260"/>
                  <a:pt x="5814" y="6167"/>
                </a:cubicBezTo>
                <a:cubicBezTo>
                  <a:pt x="5555" y="5959"/>
                  <a:pt x="5341" y="5717"/>
                  <a:pt x="4976" y="5644"/>
                </a:cubicBezTo>
                <a:cubicBezTo>
                  <a:pt x="4741" y="5597"/>
                  <a:pt x="4550" y="5696"/>
                  <a:pt x="4294" y="5865"/>
                </a:cubicBezTo>
                <a:close/>
                <a:moveTo>
                  <a:pt x="4460" y="2245"/>
                </a:moveTo>
                <a:cubicBezTo>
                  <a:pt x="4696" y="1957"/>
                  <a:pt x="4707" y="1634"/>
                  <a:pt x="4775" y="1308"/>
                </a:cubicBezTo>
                <a:cubicBezTo>
                  <a:pt x="4470" y="1440"/>
                  <a:pt x="4155" y="1514"/>
                  <a:pt x="3919" y="1802"/>
                </a:cubicBezTo>
                <a:cubicBezTo>
                  <a:pt x="3767" y="1988"/>
                  <a:pt x="3765" y="2203"/>
                  <a:pt x="3793" y="2508"/>
                </a:cubicBezTo>
                <a:cubicBezTo>
                  <a:pt x="4098" y="2475"/>
                  <a:pt x="4308" y="2431"/>
                  <a:pt x="4460" y="2245"/>
                </a:cubicBezTo>
                <a:close/>
                <a:moveTo>
                  <a:pt x="853" y="3603"/>
                </a:moveTo>
                <a:cubicBezTo>
                  <a:pt x="1046" y="3673"/>
                  <a:pt x="1222" y="3614"/>
                  <a:pt x="1461" y="3505"/>
                </a:cubicBezTo>
                <a:cubicBezTo>
                  <a:pt x="1349" y="3268"/>
                  <a:pt x="1253" y="3109"/>
                  <a:pt x="1059" y="3038"/>
                </a:cubicBezTo>
                <a:cubicBezTo>
                  <a:pt x="759" y="2928"/>
                  <a:pt x="494" y="3010"/>
                  <a:pt x="210" y="3047"/>
                </a:cubicBezTo>
                <a:cubicBezTo>
                  <a:pt x="403" y="3258"/>
                  <a:pt x="552" y="3492"/>
                  <a:pt x="853" y="3603"/>
                </a:cubicBezTo>
                <a:close/>
                <a:moveTo>
                  <a:pt x="2433" y="4843"/>
                </a:moveTo>
                <a:cubicBezTo>
                  <a:pt x="2363" y="4948"/>
                  <a:pt x="2292" y="5053"/>
                  <a:pt x="2220" y="5155"/>
                </a:cubicBezTo>
                <a:cubicBezTo>
                  <a:pt x="1810" y="5817"/>
                  <a:pt x="1441" y="6604"/>
                  <a:pt x="1415" y="7476"/>
                </a:cubicBezTo>
                <a:cubicBezTo>
                  <a:pt x="1392" y="8018"/>
                  <a:pt x="1493" y="8547"/>
                  <a:pt x="1661" y="9046"/>
                </a:cubicBezTo>
                <a:lnTo>
                  <a:pt x="2666" y="9046"/>
                </a:lnTo>
                <a:cubicBezTo>
                  <a:pt x="2200" y="8223"/>
                  <a:pt x="2053" y="7305"/>
                  <a:pt x="2274" y="6389"/>
                </a:cubicBezTo>
                <a:cubicBezTo>
                  <a:pt x="3291" y="6301"/>
                  <a:pt x="4184" y="5817"/>
                  <a:pt x="4874" y="5159"/>
                </a:cubicBezTo>
                <a:cubicBezTo>
                  <a:pt x="5291" y="5199"/>
                  <a:pt x="5558" y="5039"/>
                  <a:pt x="5761" y="4796"/>
                </a:cubicBezTo>
                <a:cubicBezTo>
                  <a:pt x="6094" y="4398"/>
                  <a:pt x="6099" y="3832"/>
                  <a:pt x="6075" y="3321"/>
                </a:cubicBezTo>
                <a:cubicBezTo>
                  <a:pt x="5712" y="3802"/>
                  <a:pt x="5317" y="3772"/>
                  <a:pt x="4984" y="4170"/>
                </a:cubicBezTo>
                <a:cubicBezTo>
                  <a:pt x="4792" y="4400"/>
                  <a:pt x="4767" y="4666"/>
                  <a:pt x="4790" y="5025"/>
                </a:cubicBezTo>
                <a:cubicBezTo>
                  <a:pt x="4086" y="5516"/>
                  <a:pt x="3275" y="5812"/>
                  <a:pt x="2468" y="5804"/>
                </a:cubicBezTo>
                <a:cubicBezTo>
                  <a:pt x="2525" y="5667"/>
                  <a:pt x="2589" y="5529"/>
                  <a:pt x="2664" y="5393"/>
                </a:cubicBezTo>
                <a:cubicBezTo>
                  <a:pt x="2983" y="4706"/>
                  <a:pt x="3390" y="4007"/>
                  <a:pt x="3554" y="3216"/>
                </a:cubicBezTo>
                <a:cubicBezTo>
                  <a:pt x="3644" y="2806"/>
                  <a:pt x="3639" y="2388"/>
                  <a:pt x="3566" y="1986"/>
                </a:cubicBezTo>
                <a:cubicBezTo>
                  <a:pt x="3729" y="1619"/>
                  <a:pt x="3814" y="1343"/>
                  <a:pt x="3702" y="1040"/>
                </a:cubicBezTo>
                <a:cubicBezTo>
                  <a:pt x="3522" y="554"/>
                  <a:pt x="3142" y="312"/>
                  <a:pt x="2799" y="0"/>
                </a:cubicBezTo>
                <a:cubicBezTo>
                  <a:pt x="2740" y="461"/>
                  <a:pt x="2608" y="891"/>
                  <a:pt x="2788" y="1378"/>
                </a:cubicBezTo>
                <a:cubicBezTo>
                  <a:pt x="2894" y="1666"/>
                  <a:pt x="3121" y="1820"/>
                  <a:pt x="3456" y="1984"/>
                </a:cubicBezTo>
                <a:cubicBezTo>
                  <a:pt x="3500" y="2889"/>
                  <a:pt x="3115" y="3758"/>
                  <a:pt x="2616" y="4560"/>
                </a:cubicBezTo>
                <a:cubicBezTo>
                  <a:pt x="2167" y="4296"/>
                  <a:pt x="1815" y="3851"/>
                  <a:pt x="1665" y="3327"/>
                </a:cubicBezTo>
                <a:cubicBezTo>
                  <a:pt x="1869" y="3140"/>
                  <a:pt x="1999" y="2983"/>
                  <a:pt x="2014" y="2756"/>
                </a:cubicBezTo>
                <a:cubicBezTo>
                  <a:pt x="2039" y="2375"/>
                  <a:pt x="1855" y="2099"/>
                  <a:pt x="1718" y="1787"/>
                </a:cubicBezTo>
                <a:cubicBezTo>
                  <a:pt x="1541" y="2079"/>
                  <a:pt x="1324" y="2329"/>
                  <a:pt x="1299" y="2709"/>
                </a:cubicBezTo>
                <a:cubicBezTo>
                  <a:pt x="1284" y="2937"/>
                  <a:pt x="1392" y="3109"/>
                  <a:pt x="1571" y="3321"/>
                </a:cubicBezTo>
                <a:cubicBezTo>
                  <a:pt x="1643" y="3899"/>
                  <a:pt x="1952" y="4461"/>
                  <a:pt x="2433" y="4843"/>
                </a:cubicBezTo>
                <a:close/>
                <a:moveTo>
                  <a:pt x="0" y="9759"/>
                </a:moveTo>
                <a:lnTo>
                  <a:pt x="4288" y="9759"/>
                </a:lnTo>
                <a:lnTo>
                  <a:pt x="4288" y="9336"/>
                </a:lnTo>
                <a:lnTo>
                  <a:pt x="0" y="9336"/>
                </a:lnTo>
                <a:lnTo>
                  <a:pt x="0" y="975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fr-FR" sz="105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93" name="Well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6A8D001-A9E4-46E0-AF2C-A4AAA2087B58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679660" y="4294848"/>
            <a:ext cx="411580" cy="407194"/>
            <a:chOff x="2803" y="1464"/>
            <a:chExt cx="2440" cy="2414"/>
          </a:xfrm>
          <a:solidFill>
            <a:schemeClr val="accent1"/>
          </a:solidFill>
        </p:grpSpPr>
        <p:sp>
          <p:nvSpPr>
            <p:cNvPr id="94" name="Freeform 119">
              <a:extLst>
                <a:ext uri="{FF2B5EF4-FFF2-40B4-BE49-F238E27FC236}">
                  <a16:creationId xmlns:a16="http://schemas.microsoft.com/office/drawing/2014/main" id="{291AC65F-2138-405E-9B3B-E16724B7A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6" y="2179"/>
              <a:ext cx="820" cy="1699"/>
            </a:xfrm>
            <a:custGeom>
              <a:avLst/>
              <a:gdLst>
                <a:gd name="T0" fmla="*/ 0 w 12223"/>
                <a:gd name="T1" fmla="*/ 24430 h 25281"/>
                <a:gd name="T2" fmla="*/ 10188 w 12223"/>
                <a:gd name="T3" fmla="*/ 0 h 25281"/>
                <a:gd name="T4" fmla="*/ 12223 w 12223"/>
                <a:gd name="T5" fmla="*/ 851 h 25281"/>
                <a:gd name="T6" fmla="*/ 2035 w 12223"/>
                <a:gd name="T7" fmla="*/ 25281 h 25281"/>
                <a:gd name="T8" fmla="*/ 0 w 12223"/>
                <a:gd name="T9" fmla="*/ 24430 h 25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23" h="25281">
                  <a:moveTo>
                    <a:pt x="0" y="24430"/>
                  </a:moveTo>
                  <a:lnTo>
                    <a:pt x="10188" y="0"/>
                  </a:lnTo>
                  <a:lnTo>
                    <a:pt x="12223" y="851"/>
                  </a:lnTo>
                  <a:lnTo>
                    <a:pt x="2035" y="25281"/>
                  </a:lnTo>
                  <a:lnTo>
                    <a:pt x="0" y="24430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reeform 120">
              <a:extLst>
                <a:ext uri="{FF2B5EF4-FFF2-40B4-BE49-F238E27FC236}">
                  <a16:creationId xmlns:a16="http://schemas.microsoft.com/office/drawing/2014/main" id="{8B6A8978-D359-4CEE-B77F-8665A10D3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179"/>
              <a:ext cx="819" cy="1699"/>
            </a:xfrm>
            <a:custGeom>
              <a:avLst/>
              <a:gdLst>
                <a:gd name="T0" fmla="*/ 10173 w 12208"/>
                <a:gd name="T1" fmla="*/ 25281 h 25281"/>
                <a:gd name="T2" fmla="*/ 0 w 12208"/>
                <a:gd name="T3" fmla="*/ 851 h 25281"/>
                <a:gd name="T4" fmla="*/ 2035 w 12208"/>
                <a:gd name="T5" fmla="*/ 0 h 25281"/>
                <a:gd name="T6" fmla="*/ 12208 w 12208"/>
                <a:gd name="T7" fmla="*/ 24430 h 25281"/>
                <a:gd name="T8" fmla="*/ 10173 w 12208"/>
                <a:gd name="T9" fmla="*/ 25281 h 25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08" h="25281">
                  <a:moveTo>
                    <a:pt x="10173" y="25281"/>
                  </a:moveTo>
                  <a:lnTo>
                    <a:pt x="0" y="851"/>
                  </a:lnTo>
                  <a:lnTo>
                    <a:pt x="2035" y="0"/>
                  </a:lnTo>
                  <a:lnTo>
                    <a:pt x="12208" y="24430"/>
                  </a:lnTo>
                  <a:lnTo>
                    <a:pt x="10173" y="25281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Freeform 121">
              <a:extLst>
                <a:ext uri="{FF2B5EF4-FFF2-40B4-BE49-F238E27FC236}">
                  <a16:creationId xmlns:a16="http://schemas.microsoft.com/office/drawing/2014/main" id="{7F3123FD-AF5A-43F9-BDEA-E75DC674E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" y="3099"/>
              <a:ext cx="1012" cy="545"/>
            </a:xfrm>
            <a:custGeom>
              <a:avLst/>
              <a:gdLst>
                <a:gd name="T0" fmla="*/ 14242 w 15094"/>
                <a:gd name="T1" fmla="*/ 8095 h 8095"/>
                <a:gd name="T2" fmla="*/ 0 w 15094"/>
                <a:gd name="T3" fmla="*/ 2006 h 8095"/>
                <a:gd name="T4" fmla="*/ 851 w 15094"/>
                <a:gd name="T5" fmla="*/ 0 h 8095"/>
                <a:gd name="T6" fmla="*/ 15094 w 15094"/>
                <a:gd name="T7" fmla="*/ 6089 h 8095"/>
                <a:gd name="T8" fmla="*/ 14242 w 15094"/>
                <a:gd name="T9" fmla="*/ 8095 h 8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94" h="8095">
                  <a:moveTo>
                    <a:pt x="14242" y="8095"/>
                  </a:moveTo>
                  <a:lnTo>
                    <a:pt x="0" y="2006"/>
                  </a:lnTo>
                  <a:lnTo>
                    <a:pt x="851" y="0"/>
                  </a:lnTo>
                  <a:lnTo>
                    <a:pt x="15094" y="6089"/>
                  </a:lnTo>
                  <a:lnTo>
                    <a:pt x="14242" y="8095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Freeform 122">
              <a:extLst>
                <a:ext uri="{FF2B5EF4-FFF2-40B4-BE49-F238E27FC236}">
                  <a16:creationId xmlns:a16="http://schemas.microsoft.com/office/drawing/2014/main" id="{BEA80723-5400-4961-B70A-41EC277E7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824"/>
              <a:ext cx="738" cy="411"/>
            </a:xfrm>
            <a:custGeom>
              <a:avLst/>
              <a:gdLst>
                <a:gd name="T0" fmla="*/ 11010 w 11010"/>
                <a:gd name="T1" fmla="*/ 2034 h 6118"/>
                <a:gd name="T2" fmla="*/ 823 w 11010"/>
                <a:gd name="T3" fmla="*/ 6118 h 6118"/>
                <a:gd name="T4" fmla="*/ 0 w 11010"/>
                <a:gd name="T5" fmla="*/ 4084 h 6118"/>
                <a:gd name="T6" fmla="*/ 10188 w 11010"/>
                <a:gd name="T7" fmla="*/ 0 h 6118"/>
                <a:gd name="T8" fmla="*/ 11010 w 11010"/>
                <a:gd name="T9" fmla="*/ 2034 h 6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10" h="6118">
                  <a:moveTo>
                    <a:pt x="11010" y="2034"/>
                  </a:moveTo>
                  <a:lnTo>
                    <a:pt x="823" y="6118"/>
                  </a:lnTo>
                  <a:lnTo>
                    <a:pt x="0" y="4084"/>
                  </a:lnTo>
                  <a:lnTo>
                    <a:pt x="10188" y="0"/>
                  </a:lnTo>
                  <a:lnTo>
                    <a:pt x="11010" y="2034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Freeform 123">
              <a:extLst>
                <a:ext uri="{FF2B5EF4-FFF2-40B4-BE49-F238E27FC236}">
                  <a16:creationId xmlns:a16="http://schemas.microsoft.com/office/drawing/2014/main" id="{9E46BB9F-4715-4850-9101-E1EA1EF68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1863"/>
              <a:ext cx="1951" cy="690"/>
            </a:xfrm>
            <a:custGeom>
              <a:avLst/>
              <a:gdLst>
                <a:gd name="T0" fmla="*/ 592 w 29077"/>
                <a:gd name="T1" fmla="*/ 0 h 10274"/>
                <a:gd name="T2" fmla="*/ 29077 w 29077"/>
                <a:gd name="T3" fmla="*/ 8153 h 10274"/>
                <a:gd name="T4" fmla="*/ 28485 w 29077"/>
                <a:gd name="T5" fmla="*/ 10274 h 10274"/>
                <a:gd name="T6" fmla="*/ 0 w 29077"/>
                <a:gd name="T7" fmla="*/ 2121 h 10274"/>
                <a:gd name="T8" fmla="*/ 592 w 29077"/>
                <a:gd name="T9" fmla="*/ 0 h 10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77" h="10274">
                  <a:moveTo>
                    <a:pt x="592" y="0"/>
                  </a:moveTo>
                  <a:lnTo>
                    <a:pt x="29077" y="8153"/>
                  </a:lnTo>
                  <a:lnTo>
                    <a:pt x="28485" y="10274"/>
                  </a:lnTo>
                  <a:lnTo>
                    <a:pt x="0" y="2121"/>
                  </a:lnTo>
                  <a:lnTo>
                    <a:pt x="592" y="0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9" name="Freeform 124">
              <a:extLst>
                <a:ext uri="{FF2B5EF4-FFF2-40B4-BE49-F238E27FC236}">
                  <a16:creationId xmlns:a16="http://schemas.microsoft.com/office/drawing/2014/main" id="{127214E1-BB04-4054-BFC2-4443A068D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6" y="2371"/>
              <a:ext cx="206" cy="93"/>
            </a:xfrm>
            <a:custGeom>
              <a:avLst/>
              <a:gdLst>
                <a:gd name="T0" fmla="*/ 202 w 3073"/>
                <a:gd name="T1" fmla="*/ 1385 h 1385"/>
                <a:gd name="T2" fmla="*/ 0 w 3073"/>
                <a:gd name="T3" fmla="*/ 418 h 1385"/>
                <a:gd name="T4" fmla="*/ 1457 w 3073"/>
                <a:gd name="T5" fmla="*/ 216 h 1385"/>
                <a:gd name="T6" fmla="*/ 2900 w 3073"/>
                <a:gd name="T7" fmla="*/ 0 h 1385"/>
                <a:gd name="T8" fmla="*/ 3073 w 3073"/>
                <a:gd name="T9" fmla="*/ 765 h 1385"/>
                <a:gd name="T10" fmla="*/ 202 w 3073"/>
                <a:gd name="T11" fmla="*/ 1385 h 1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73" h="1385">
                  <a:moveTo>
                    <a:pt x="202" y="1385"/>
                  </a:moveTo>
                  <a:lnTo>
                    <a:pt x="0" y="418"/>
                  </a:lnTo>
                  <a:lnTo>
                    <a:pt x="1457" y="216"/>
                  </a:lnTo>
                  <a:lnTo>
                    <a:pt x="2900" y="0"/>
                  </a:lnTo>
                  <a:lnTo>
                    <a:pt x="3073" y="765"/>
                  </a:lnTo>
                  <a:lnTo>
                    <a:pt x="202" y="1385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reeform 125">
              <a:extLst>
                <a:ext uri="{FF2B5EF4-FFF2-40B4-BE49-F238E27FC236}">
                  <a16:creationId xmlns:a16="http://schemas.microsoft.com/office/drawing/2014/main" id="{BD4FBDF4-81D0-4587-B369-A1040B35F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6" y="2317"/>
              <a:ext cx="205" cy="82"/>
            </a:xfrm>
            <a:custGeom>
              <a:avLst/>
              <a:gdLst>
                <a:gd name="T0" fmla="*/ 1602 w 3045"/>
                <a:gd name="T1" fmla="*/ 1024 h 1226"/>
                <a:gd name="T2" fmla="*/ 145 w 3045"/>
                <a:gd name="T3" fmla="*/ 1226 h 1226"/>
                <a:gd name="T4" fmla="*/ 0 w 3045"/>
                <a:gd name="T5" fmla="*/ 274 h 1226"/>
                <a:gd name="T6" fmla="*/ 1472 w 3045"/>
                <a:gd name="T7" fmla="*/ 144 h 1226"/>
                <a:gd name="T8" fmla="*/ 2930 w 3045"/>
                <a:gd name="T9" fmla="*/ 0 h 1226"/>
                <a:gd name="T10" fmla="*/ 3045 w 3045"/>
                <a:gd name="T11" fmla="*/ 808 h 1226"/>
                <a:gd name="T12" fmla="*/ 1602 w 3045"/>
                <a:gd name="T13" fmla="*/ 1024 h 1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5" h="1226">
                  <a:moveTo>
                    <a:pt x="1602" y="1024"/>
                  </a:moveTo>
                  <a:lnTo>
                    <a:pt x="145" y="1226"/>
                  </a:lnTo>
                  <a:lnTo>
                    <a:pt x="0" y="274"/>
                  </a:lnTo>
                  <a:lnTo>
                    <a:pt x="1472" y="144"/>
                  </a:lnTo>
                  <a:lnTo>
                    <a:pt x="2930" y="0"/>
                  </a:lnTo>
                  <a:lnTo>
                    <a:pt x="3045" y="808"/>
                  </a:lnTo>
                  <a:lnTo>
                    <a:pt x="1602" y="1024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Freeform 126">
              <a:extLst>
                <a:ext uri="{FF2B5EF4-FFF2-40B4-BE49-F238E27FC236}">
                  <a16:creationId xmlns:a16="http://schemas.microsoft.com/office/drawing/2014/main" id="{73A6681E-C32C-4A1B-AE05-16F428FD3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" y="2264"/>
              <a:ext cx="202" cy="71"/>
            </a:xfrm>
            <a:custGeom>
              <a:avLst/>
              <a:gdLst>
                <a:gd name="T0" fmla="*/ 1558 w 3016"/>
                <a:gd name="T1" fmla="*/ 923 h 1053"/>
                <a:gd name="T2" fmla="*/ 86 w 3016"/>
                <a:gd name="T3" fmla="*/ 1053 h 1053"/>
                <a:gd name="T4" fmla="*/ 0 w 3016"/>
                <a:gd name="T5" fmla="*/ 43 h 1053"/>
                <a:gd name="T6" fmla="*/ 1472 w 3016"/>
                <a:gd name="T7" fmla="*/ 29 h 1053"/>
                <a:gd name="T8" fmla="*/ 2929 w 3016"/>
                <a:gd name="T9" fmla="*/ 0 h 1053"/>
                <a:gd name="T10" fmla="*/ 3016 w 3016"/>
                <a:gd name="T11" fmla="*/ 779 h 1053"/>
                <a:gd name="T12" fmla="*/ 1558 w 3016"/>
                <a:gd name="T13" fmla="*/ 923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16" h="1053">
                  <a:moveTo>
                    <a:pt x="1558" y="923"/>
                  </a:moveTo>
                  <a:lnTo>
                    <a:pt x="86" y="1053"/>
                  </a:lnTo>
                  <a:lnTo>
                    <a:pt x="0" y="43"/>
                  </a:lnTo>
                  <a:lnTo>
                    <a:pt x="1472" y="29"/>
                  </a:lnTo>
                  <a:lnTo>
                    <a:pt x="2929" y="0"/>
                  </a:lnTo>
                  <a:lnTo>
                    <a:pt x="3016" y="779"/>
                  </a:lnTo>
                  <a:lnTo>
                    <a:pt x="1558" y="923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2" name="Freeform 127">
              <a:extLst>
                <a:ext uri="{FF2B5EF4-FFF2-40B4-BE49-F238E27FC236}">
                  <a16:creationId xmlns:a16="http://schemas.microsoft.com/office/drawing/2014/main" id="{E56D37DF-2070-4E25-96AD-EA93E3040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0" y="2195"/>
              <a:ext cx="197" cy="72"/>
            </a:xfrm>
            <a:custGeom>
              <a:avLst/>
              <a:gdLst>
                <a:gd name="T0" fmla="*/ 1487 w 2944"/>
                <a:gd name="T1" fmla="*/ 1054 h 1068"/>
                <a:gd name="T2" fmla="*/ 15 w 2944"/>
                <a:gd name="T3" fmla="*/ 1068 h 1068"/>
                <a:gd name="T4" fmla="*/ 0 w 2944"/>
                <a:gd name="T5" fmla="*/ 0 h 1068"/>
                <a:gd name="T6" fmla="*/ 1472 w 2944"/>
                <a:gd name="T7" fmla="*/ 145 h 1068"/>
                <a:gd name="T8" fmla="*/ 2930 w 2944"/>
                <a:gd name="T9" fmla="*/ 274 h 1068"/>
                <a:gd name="T10" fmla="*/ 2944 w 2944"/>
                <a:gd name="T11" fmla="*/ 1025 h 1068"/>
                <a:gd name="T12" fmla="*/ 1487 w 2944"/>
                <a:gd name="T13" fmla="*/ 1054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44" h="1068">
                  <a:moveTo>
                    <a:pt x="1487" y="1054"/>
                  </a:moveTo>
                  <a:lnTo>
                    <a:pt x="15" y="1068"/>
                  </a:lnTo>
                  <a:lnTo>
                    <a:pt x="0" y="0"/>
                  </a:lnTo>
                  <a:lnTo>
                    <a:pt x="1472" y="145"/>
                  </a:lnTo>
                  <a:lnTo>
                    <a:pt x="2930" y="274"/>
                  </a:lnTo>
                  <a:lnTo>
                    <a:pt x="2944" y="1025"/>
                  </a:lnTo>
                  <a:lnTo>
                    <a:pt x="1487" y="1054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3" name="Freeform 128">
              <a:extLst>
                <a:ext uri="{FF2B5EF4-FFF2-40B4-BE49-F238E27FC236}">
                  <a16:creationId xmlns:a16="http://schemas.microsoft.com/office/drawing/2014/main" id="{EC71304F-7DFE-4DC3-89A1-7CD56F8CC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0" y="1986"/>
              <a:ext cx="214" cy="228"/>
            </a:xfrm>
            <a:custGeom>
              <a:avLst/>
              <a:gdLst>
                <a:gd name="T0" fmla="*/ 0 w 3189"/>
                <a:gd name="T1" fmla="*/ 3117 h 3391"/>
                <a:gd name="T2" fmla="*/ 260 w 3189"/>
                <a:gd name="T3" fmla="*/ 260 h 3391"/>
                <a:gd name="T4" fmla="*/ 260 w 3189"/>
                <a:gd name="T5" fmla="*/ 260 h 3391"/>
                <a:gd name="T6" fmla="*/ 318 w 3189"/>
                <a:gd name="T7" fmla="*/ 0 h 3391"/>
                <a:gd name="T8" fmla="*/ 1732 w 3189"/>
                <a:gd name="T9" fmla="*/ 404 h 3391"/>
                <a:gd name="T10" fmla="*/ 3189 w 3189"/>
                <a:gd name="T11" fmla="*/ 534 h 3391"/>
                <a:gd name="T12" fmla="*/ 2930 w 3189"/>
                <a:gd name="T13" fmla="*/ 3391 h 3391"/>
                <a:gd name="T14" fmla="*/ 1472 w 3189"/>
                <a:gd name="T15" fmla="*/ 3262 h 3391"/>
                <a:gd name="T16" fmla="*/ 0 w 3189"/>
                <a:gd name="T17" fmla="*/ 3117 h 3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89" h="3391">
                  <a:moveTo>
                    <a:pt x="0" y="3117"/>
                  </a:moveTo>
                  <a:lnTo>
                    <a:pt x="260" y="260"/>
                  </a:lnTo>
                  <a:lnTo>
                    <a:pt x="260" y="260"/>
                  </a:lnTo>
                  <a:lnTo>
                    <a:pt x="318" y="0"/>
                  </a:lnTo>
                  <a:lnTo>
                    <a:pt x="1732" y="404"/>
                  </a:lnTo>
                  <a:lnTo>
                    <a:pt x="3189" y="534"/>
                  </a:lnTo>
                  <a:lnTo>
                    <a:pt x="2930" y="3391"/>
                  </a:lnTo>
                  <a:lnTo>
                    <a:pt x="1472" y="3262"/>
                  </a:lnTo>
                  <a:lnTo>
                    <a:pt x="0" y="3117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reeform 129">
              <a:extLst>
                <a:ext uri="{FF2B5EF4-FFF2-40B4-BE49-F238E27FC236}">
                  <a16:creationId xmlns:a16="http://schemas.microsoft.com/office/drawing/2014/main" id="{833D4C3B-5A79-428A-B4A2-CEAD32157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" y="1790"/>
              <a:ext cx="239" cy="249"/>
            </a:xfrm>
            <a:custGeom>
              <a:avLst/>
              <a:gdLst>
                <a:gd name="T0" fmla="*/ 0 w 3564"/>
                <a:gd name="T1" fmla="*/ 2915 h 3709"/>
                <a:gd name="T2" fmla="*/ 750 w 3564"/>
                <a:gd name="T3" fmla="*/ 246 h 3709"/>
                <a:gd name="T4" fmla="*/ 750 w 3564"/>
                <a:gd name="T5" fmla="*/ 246 h 3709"/>
                <a:gd name="T6" fmla="*/ 851 w 3564"/>
                <a:gd name="T7" fmla="*/ 0 h 3709"/>
                <a:gd name="T8" fmla="*/ 2164 w 3564"/>
                <a:gd name="T9" fmla="*/ 650 h 3709"/>
                <a:gd name="T10" fmla="*/ 3564 w 3564"/>
                <a:gd name="T11" fmla="*/ 1039 h 3709"/>
                <a:gd name="T12" fmla="*/ 2814 w 3564"/>
                <a:gd name="T13" fmla="*/ 3709 h 3709"/>
                <a:gd name="T14" fmla="*/ 1414 w 3564"/>
                <a:gd name="T15" fmla="*/ 3319 h 3709"/>
                <a:gd name="T16" fmla="*/ 0 w 3564"/>
                <a:gd name="T17" fmla="*/ 2915 h 3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64" h="3709">
                  <a:moveTo>
                    <a:pt x="0" y="2915"/>
                  </a:moveTo>
                  <a:lnTo>
                    <a:pt x="750" y="246"/>
                  </a:lnTo>
                  <a:lnTo>
                    <a:pt x="750" y="246"/>
                  </a:lnTo>
                  <a:lnTo>
                    <a:pt x="851" y="0"/>
                  </a:lnTo>
                  <a:lnTo>
                    <a:pt x="2164" y="650"/>
                  </a:lnTo>
                  <a:lnTo>
                    <a:pt x="3564" y="1039"/>
                  </a:lnTo>
                  <a:lnTo>
                    <a:pt x="2814" y="3709"/>
                  </a:lnTo>
                  <a:lnTo>
                    <a:pt x="1414" y="3319"/>
                  </a:lnTo>
                  <a:lnTo>
                    <a:pt x="0" y="2915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Freeform 130">
              <a:extLst>
                <a:ext uri="{FF2B5EF4-FFF2-40B4-BE49-F238E27FC236}">
                  <a16:creationId xmlns:a16="http://schemas.microsoft.com/office/drawing/2014/main" id="{9A7A5AA6-89AA-4E53-9CBC-304D7EAAA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" y="1609"/>
              <a:ext cx="257" cy="267"/>
            </a:xfrm>
            <a:custGeom>
              <a:avLst/>
              <a:gdLst>
                <a:gd name="T0" fmla="*/ 0 w 3824"/>
                <a:gd name="T1" fmla="*/ 2684 h 3969"/>
                <a:gd name="T2" fmla="*/ 1212 w 3824"/>
                <a:gd name="T3" fmla="*/ 231 h 3969"/>
                <a:gd name="T4" fmla="*/ 1212 w 3824"/>
                <a:gd name="T5" fmla="*/ 231 h 3969"/>
                <a:gd name="T6" fmla="*/ 1342 w 3824"/>
                <a:gd name="T7" fmla="*/ 0 h 3969"/>
                <a:gd name="T8" fmla="*/ 2525 w 3824"/>
                <a:gd name="T9" fmla="*/ 881 h 3969"/>
                <a:gd name="T10" fmla="*/ 3824 w 3824"/>
                <a:gd name="T11" fmla="*/ 1516 h 3969"/>
                <a:gd name="T12" fmla="*/ 2612 w 3824"/>
                <a:gd name="T13" fmla="*/ 3969 h 3969"/>
                <a:gd name="T14" fmla="*/ 1313 w 3824"/>
                <a:gd name="T15" fmla="*/ 3334 h 3969"/>
                <a:gd name="T16" fmla="*/ 0 w 3824"/>
                <a:gd name="T17" fmla="*/ 2684 h 3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4" h="3969">
                  <a:moveTo>
                    <a:pt x="0" y="2684"/>
                  </a:moveTo>
                  <a:lnTo>
                    <a:pt x="1212" y="231"/>
                  </a:lnTo>
                  <a:lnTo>
                    <a:pt x="1212" y="231"/>
                  </a:lnTo>
                  <a:lnTo>
                    <a:pt x="1342" y="0"/>
                  </a:lnTo>
                  <a:lnTo>
                    <a:pt x="2525" y="881"/>
                  </a:lnTo>
                  <a:lnTo>
                    <a:pt x="3824" y="1516"/>
                  </a:lnTo>
                  <a:lnTo>
                    <a:pt x="2612" y="3969"/>
                  </a:lnTo>
                  <a:lnTo>
                    <a:pt x="1313" y="3334"/>
                  </a:lnTo>
                  <a:lnTo>
                    <a:pt x="0" y="2684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Freeform 131">
              <a:extLst>
                <a:ext uri="{FF2B5EF4-FFF2-40B4-BE49-F238E27FC236}">
                  <a16:creationId xmlns:a16="http://schemas.microsoft.com/office/drawing/2014/main" id="{281BD739-A235-477D-B302-5C6F338FD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8" y="1464"/>
              <a:ext cx="266" cy="263"/>
            </a:xfrm>
            <a:custGeom>
              <a:avLst/>
              <a:gdLst>
                <a:gd name="T0" fmla="*/ 1183 w 3968"/>
                <a:gd name="T1" fmla="*/ 3045 h 3911"/>
                <a:gd name="T2" fmla="*/ 0 w 3968"/>
                <a:gd name="T3" fmla="*/ 2164 h 3911"/>
                <a:gd name="T4" fmla="*/ 1616 w 3968"/>
                <a:gd name="T5" fmla="*/ 0 h 3911"/>
                <a:gd name="T6" fmla="*/ 3968 w 3968"/>
                <a:gd name="T7" fmla="*/ 1746 h 3911"/>
                <a:gd name="T8" fmla="*/ 2352 w 3968"/>
                <a:gd name="T9" fmla="*/ 3911 h 3911"/>
                <a:gd name="T10" fmla="*/ 1183 w 3968"/>
                <a:gd name="T11" fmla="*/ 3045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68" h="3911">
                  <a:moveTo>
                    <a:pt x="1183" y="3045"/>
                  </a:moveTo>
                  <a:lnTo>
                    <a:pt x="0" y="2164"/>
                  </a:lnTo>
                  <a:lnTo>
                    <a:pt x="1616" y="0"/>
                  </a:lnTo>
                  <a:lnTo>
                    <a:pt x="3968" y="1746"/>
                  </a:lnTo>
                  <a:lnTo>
                    <a:pt x="2352" y="3911"/>
                  </a:lnTo>
                  <a:lnTo>
                    <a:pt x="1183" y="3045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Rectangle 132">
              <a:extLst>
                <a:ext uri="{FF2B5EF4-FFF2-40B4-BE49-F238E27FC236}">
                  <a16:creationId xmlns:a16="http://schemas.microsoft.com/office/drawing/2014/main" id="{C17D51B4-6B46-45A1-BB4A-FA974B9717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4" y="2208"/>
              <a:ext cx="50" cy="1642"/>
            </a:xfrm>
            <a:prstGeom prst="rect">
              <a:avLst/>
            </a:prstGeom>
            <a:grpFill/>
            <a:ln w="0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Rectangle 133">
              <a:extLst>
                <a:ext uri="{FF2B5EF4-FFF2-40B4-BE49-F238E27FC236}">
                  <a16:creationId xmlns:a16="http://schemas.microsoft.com/office/drawing/2014/main" id="{91AC200B-8FD4-4B81-A01E-A3A64526BF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3" y="3440"/>
              <a:ext cx="393" cy="410"/>
            </a:xfrm>
            <a:prstGeom prst="rect">
              <a:avLst/>
            </a:prstGeom>
            <a:grpFill/>
            <a:ln w="0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reeform 134">
              <a:extLst>
                <a:ext uri="{FF2B5EF4-FFF2-40B4-BE49-F238E27FC236}">
                  <a16:creationId xmlns:a16="http://schemas.microsoft.com/office/drawing/2014/main" id="{DD82C1DE-C494-4F34-A0FA-401A3E50C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" y="2239"/>
              <a:ext cx="655" cy="528"/>
            </a:xfrm>
            <a:custGeom>
              <a:avLst/>
              <a:gdLst>
                <a:gd name="T0" fmla="*/ 1270 w 9755"/>
                <a:gd name="T1" fmla="*/ 0 h 7849"/>
                <a:gd name="T2" fmla="*/ 9755 w 9755"/>
                <a:gd name="T3" fmla="*/ 1500 h 7849"/>
                <a:gd name="T4" fmla="*/ 8052 w 9755"/>
                <a:gd name="T5" fmla="*/ 7849 h 7849"/>
                <a:gd name="T6" fmla="*/ 0 w 9755"/>
                <a:gd name="T7" fmla="*/ 4675 h 7849"/>
                <a:gd name="T8" fmla="*/ 1270 w 9755"/>
                <a:gd name="T9" fmla="*/ 0 h 7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55" h="7849">
                  <a:moveTo>
                    <a:pt x="1270" y="0"/>
                  </a:moveTo>
                  <a:lnTo>
                    <a:pt x="9755" y="1500"/>
                  </a:lnTo>
                  <a:lnTo>
                    <a:pt x="8052" y="7849"/>
                  </a:lnTo>
                  <a:lnTo>
                    <a:pt x="0" y="4675"/>
                  </a:lnTo>
                  <a:lnTo>
                    <a:pt x="1270" y="0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0" name="Freeform 135">
              <a:extLst>
                <a:ext uri="{FF2B5EF4-FFF2-40B4-BE49-F238E27FC236}">
                  <a16:creationId xmlns:a16="http://schemas.microsoft.com/office/drawing/2014/main" id="{116A3428-D7AD-46A0-BAC0-9F68AAF918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" y="2239"/>
              <a:ext cx="655" cy="528"/>
            </a:xfrm>
            <a:custGeom>
              <a:avLst/>
              <a:gdLst>
                <a:gd name="T0" fmla="*/ 85 w 655"/>
                <a:gd name="T1" fmla="*/ 0 h 528"/>
                <a:gd name="T2" fmla="*/ 655 w 655"/>
                <a:gd name="T3" fmla="*/ 101 h 528"/>
                <a:gd name="T4" fmla="*/ 541 w 655"/>
                <a:gd name="T5" fmla="*/ 528 h 528"/>
                <a:gd name="T6" fmla="*/ 0 w 655"/>
                <a:gd name="T7" fmla="*/ 314 h 528"/>
                <a:gd name="T8" fmla="*/ 85 w 655"/>
                <a:gd name="T9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5" h="528">
                  <a:moveTo>
                    <a:pt x="85" y="0"/>
                  </a:moveTo>
                  <a:lnTo>
                    <a:pt x="655" y="101"/>
                  </a:lnTo>
                  <a:lnTo>
                    <a:pt x="541" y="528"/>
                  </a:lnTo>
                  <a:lnTo>
                    <a:pt x="0" y="314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1588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11" name="Windmill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DD97F83-6BA1-4E73-AB96-7BDE78289E82}"/>
              </a:ext>
            </a:extLst>
          </p:cNvPr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7478424" y="4045911"/>
            <a:ext cx="479486" cy="407194"/>
          </a:xfrm>
          <a:custGeom>
            <a:avLst/>
            <a:gdLst>
              <a:gd name="T0" fmla="*/ 359 w 676"/>
              <a:gd name="T1" fmla="*/ 50 h 576"/>
              <a:gd name="T2" fmla="*/ 342 w 676"/>
              <a:gd name="T3" fmla="*/ 159 h 576"/>
              <a:gd name="T4" fmla="*/ 451 w 676"/>
              <a:gd name="T5" fmla="*/ 258 h 576"/>
              <a:gd name="T6" fmla="*/ 364 w 676"/>
              <a:gd name="T7" fmla="*/ 188 h 576"/>
              <a:gd name="T8" fmla="*/ 225 w 676"/>
              <a:gd name="T9" fmla="*/ 233 h 576"/>
              <a:gd name="T10" fmla="*/ 328 w 676"/>
              <a:gd name="T11" fmla="*/ 193 h 576"/>
              <a:gd name="T12" fmla="*/ 576 w 676"/>
              <a:gd name="T13" fmla="*/ 224 h 576"/>
              <a:gd name="T14" fmla="*/ 566 w 676"/>
              <a:gd name="T15" fmla="*/ 287 h 576"/>
              <a:gd name="T16" fmla="*/ 638 w 676"/>
              <a:gd name="T17" fmla="*/ 356 h 576"/>
              <a:gd name="T18" fmla="*/ 588 w 676"/>
              <a:gd name="T19" fmla="*/ 316 h 576"/>
              <a:gd name="T20" fmla="*/ 493 w 676"/>
              <a:gd name="T21" fmla="*/ 344 h 576"/>
              <a:gd name="T22" fmla="*/ 552 w 676"/>
              <a:gd name="T23" fmla="*/ 321 h 576"/>
              <a:gd name="T24" fmla="*/ 132 w 676"/>
              <a:gd name="T25" fmla="*/ 224 h 576"/>
              <a:gd name="T26" fmla="*/ 122 w 676"/>
              <a:gd name="T27" fmla="*/ 287 h 576"/>
              <a:gd name="T28" fmla="*/ 194 w 676"/>
              <a:gd name="T29" fmla="*/ 356 h 576"/>
              <a:gd name="T30" fmla="*/ 145 w 676"/>
              <a:gd name="T31" fmla="*/ 316 h 576"/>
              <a:gd name="T32" fmla="*/ 49 w 676"/>
              <a:gd name="T33" fmla="*/ 344 h 576"/>
              <a:gd name="T34" fmla="*/ 108 w 676"/>
              <a:gd name="T35" fmla="*/ 321 h 576"/>
              <a:gd name="T36" fmla="*/ 535 w 676"/>
              <a:gd name="T37" fmla="*/ 496 h 576"/>
              <a:gd name="T38" fmla="*/ 559 w 676"/>
              <a:gd name="T39" fmla="*/ 331 h 576"/>
              <a:gd name="T40" fmla="*/ 542 w 676"/>
              <a:gd name="T41" fmla="*/ 350 h 576"/>
              <a:gd name="T42" fmla="*/ 444 w 676"/>
              <a:gd name="T43" fmla="*/ 355 h 576"/>
              <a:gd name="T44" fmla="*/ 561 w 676"/>
              <a:gd name="T45" fmla="*/ 305 h 576"/>
              <a:gd name="T46" fmla="*/ 545 w 676"/>
              <a:gd name="T47" fmla="*/ 264 h 576"/>
              <a:gd name="T48" fmla="*/ 591 w 676"/>
              <a:gd name="T49" fmla="*/ 176 h 576"/>
              <a:gd name="T50" fmla="*/ 576 w 676"/>
              <a:gd name="T51" fmla="*/ 303 h 576"/>
              <a:gd name="T52" fmla="*/ 619 w 676"/>
              <a:gd name="T53" fmla="*/ 310 h 576"/>
              <a:gd name="T54" fmla="*/ 672 w 676"/>
              <a:gd name="T55" fmla="*/ 393 h 576"/>
              <a:gd name="T56" fmla="*/ 576 w 676"/>
              <a:gd name="T57" fmla="*/ 321 h 576"/>
              <a:gd name="T58" fmla="*/ 656 w 676"/>
              <a:gd name="T59" fmla="*/ 557 h 576"/>
              <a:gd name="T60" fmla="*/ 647 w 676"/>
              <a:gd name="T61" fmla="*/ 576 h 576"/>
              <a:gd name="T62" fmla="*/ 43 w 676"/>
              <a:gd name="T63" fmla="*/ 576 h 576"/>
              <a:gd name="T64" fmla="*/ 35 w 676"/>
              <a:gd name="T65" fmla="*/ 556 h 576"/>
              <a:gd name="T66" fmla="*/ 115 w 676"/>
              <a:gd name="T67" fmla="*/ 331 h 576"/>
              <a:gd name="T68" fmla="*/ 99 w 676"/>
              <a:gd name="T69" fmla="*/ 350 h 576"/>
              <a:gd name="T70" fmla="*/ 6 w 676"/>
              <a:gd name="T71" fmla="*/ 360 h 576"/>
              <a:gd name="T72" fmla="*/ 4 w 676"/>
              <a:gd name="T73" fmla="*/ 349 h 576"/>
              <a:gd name="T74" fmla="*/ 102 w 676"/>
              <a:gd name="T75" fmla="*/ 268 h 576"/>
              <a:gd name="T76" fmla="*/ 139 w 676"/>
              <a:gd name="T77" fmla="*/ 179 h 576"/>
              <a:gd name="T78" fmla="*/ 150 w 676"/>
              <a:gd name="T79" fmla="*/ 182 h 576"/>
              <a:gd name="T80" fmla="*/ 171 w 676"/>
              <a:gd name="T81" fmla="*/ 307 h 576"/>
              <a:gd name="T82" fmla="*/ 230 w 676"/>
              <a:gd name="T83" fmla="*/ 385 h 576"/>
              <a:gd name="T84" fmla="*/ 222 w 676"/>
              <a:gd name="T85" fmla="*/ 393 h 576"/>
              <a:gd name="T86" fmla="*/ 142 w 676"/>
              <a:gd name="T87" fmla="*/ 499 h 576"/>
              <a:gd name="T88" fmla="*/ 319 w 676"/>
              <a:gd name="T89" fmla="*/ 474 h 576"/>
              <a:gd name="T90" fmla="*/ 312 w 676"/>
              <a:gd name="T91" fmla="*/ 234 h 576"/>
              <a:gd name="T92" fmla="*/ 182 w 676"/>
              <a:gd name="T93" fmla="*/ 250 h 576"/>
              <a:gd name="T94" fmla="*/ 180 w 676"/>
              <a:gd name="T95" fmla="*/ 238 h 576"/>
              <a:gd name="T96" fmla="*/ 314 w 676"/>
              <a:gd name="T97" fmla="*/ 125 h 576"/>
              <a:gd name="T98" fmla="*/ 366 w 676"/>
              <a:gd name="T99" fmla="*/ 5 h 576"/>
              <a:gd name="T100" fmla="*/ 377 w 676"/>
              <a:gd name="T101" fmla="*/ 8 h 576"/>
              <a:gd name="T102" fmla="*/ 407 w 676"/>
              <a:gd name="T103" fmla="*/ 181 h 576"/>
              <a:gd name="T104" fmla="*/ 486 w 676"/>
              <a:gd name="T105" fmla="*/ 286 h 576"/>
              <a:gd name="T106" fmla="*/ 478 w 676"/>
              <a:gd name="T107" fmla="*/ 294 h 576"/>
              <a:gd name="T108" fmla="*/ 368 w 676"/>
              <a:gd name="T109" fmla="*/ 474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676" h="576">
                <a:moveTo>
                  <a:pt x="342" y="159"/>
                </a:moveTo>
                <a:lnTo>
                  <a:pt x="359" y="50"/>
                </a:lnTo>
                <a:lnTo>
                  <a:pt x="326" y="123"/>
                </a:lnTo>
                <a:lnTo>
                  <a:pt x="342" y="159"/>
                </a:lnTo>
                <a:close/>
                <a:moveTo>
                  <a:pt x="364" y="188"/>
                </a:moveTo>
                <a:lnTo>
                  <a:pt x="451" y="258"/>
                </a:lnTo>
                <a:lnTo>
                  <a:pt x="403" y="193"/>
                </a:lnTo>
                <a:lnTo>
                  <a:pt x="364" y="188"/>
                </a:lnTo>
                <a:close/>
                <a:moveTo>
                  <a:pt x="328" y="193"/>
                </a:moveTo>
                <a:lnTo>
                  <a:pt x="225" y="233"/>
                </a:lnTo>
                <a:lnTo>
                  <a:pt x="305" y="225"/>
                </a:lnTo>
                <a:lnTo>
                  <a:pt x="328" y="193"/>
                </a:lnTo>
                <a:close/>
                <a:moveTo>
                  <a:pt x="566" y="287"/>
                </a:moveTo>
                <a:lnTo>
                  <a:pt x="576" y="224"/>
                </a:lnTo>
                <a:lnTo>
                  <a:pt x="557" y="266"/>
                </a:lnTo>
                <a:lnTo>
                  <a:pt x="566" y="287"/>
                </a:lnTo>
                <a:close/>
                <a:moveTo>
                  <a:pt x="588" y="316"/>
                </a:moveTo>
                <a:lnTo>
                  <a:pt x="638" y="356"/>
                </a:lnTo>
                <a:lnTo>
                  <a:pt x="611" y="319"/>
                </a:lnTo>
                <a:lnTo>
                  <a:pt x="588" y="316"/>
                </a:lnTo>
                <a:close/>
                <a:moveTo>
                  <a:pt x="552" y="321"/>
                </a:moveTo>
                <a:lnTo>
                  <a:pt x="493" y="344"/>
                </a:lnTo>
                <a:lnTo>
                  <a:pt x="539" y="339"/>
                </a:lnTo>
                <a:lnTo>
                  <a:pt x="552" y="321"/>
                </a:lnTo>
                <a:close/>
                <a:moveTo>
                  <a:pt x="122" y="287"/>
                </a:moveTo>
                <a:lnTo>
                  <a:pt x="132" y="224"/>
                </a:lnTo>
                <a:lnTo>
                  <a:pt x="113" y="266"/>
                </a:lnTo>
                <a:lnTo>
                  <a:pt x="122" y="287"/>
                </a:lnTo>
                <a:close/>
                <a:moveTo>
                  <a:pt x="145" y="316"/>
                </a:moveTo>
                <a:lnTo>
                  <a:pt x="194" y="356"/>
                </a:lnTo>
                <a:lnTo>
                  <a:pt x="167" y="319"/>
                </a:lnTo>
                <a:lnTo>
                  <a:pt x="145" y="316"/>
                </a:lnTo>
                <a:close/>
                <a:moveTo>
                  <a:pt x="108" y="321"/>
                </a:moveTo>
                <a:lnTo>
                  <a:pt x="49" y="344"/>
                </a:lnTo>
                <a:lnTo>
                  <a:pt x="95" y="339"/>
                </a:lnTo>
                <a:lnTo>
                  <a:pt x="108" y="321"/>
                </a:lnTo>
                <a:close/>
                <a:moveTo>
                  <a:pt x="368" y="474"/>
                </a:moveTo>
                <a:cubicBezTo>
                  <a:pt x="430" y="475"/>
                  <a:pt x="487" y="483"/>
                  <a:pt x="535" y="496"/>
                </a:cubicBezTo>
                <a:cubicBezTo>
                  <a:pt x="540" y="497"/>
                  <a:pt x="546" y="499"/>
                  <a:pt x="551" y="500"/>
                </a:cubicBezTo>
                <a:lnTo>
                  <a:pt x="559" y="331"/>
                </a:lnTo>
                <a:lnTo>
                  <a:pt x="547" y="348"/>
                </a:lnTo>
                <a:cubicBezTo>
                  <a:pt x="545" y="349"/>
                  <a:pt x="544" y="350"/>
                  <a:pt x="542" y="350"/>
                </a:cubicBezTo>
                <a:lnTo>
                  <a:pt x="450" y="360"/>
                </a:lnTo>
                <a:cubicBezTo>
                  <a:pt x="447" y="361"/>
                  <a:pt x="444" y="358"/>
                  <a:pt x="444" y="355"/>
                </a:cubicBezTo>
                <a:cubicBezTo>
                  <a:pt x="443" y="352"/>
                  <a:pt x="445" y="350"/>
                  <a:pt x="448" y="349"/>
                </a:cubicBezTo>
                <a:lnTo>
                  <a:pt x="561" y="305"/>
                </a:lnTo>
                <a:lnTo>
                  <a:pt x="545" y="268"/>
                </a:lnTo>
                <a:cubicBezTo>
                  <a:pt x="545" y="267"/>
                  <a:pt x="545" y="265"/>
                  <a:pt x="545" y="264"/>
                </a:cubicBezTo>
                <a:lnTo>
                  <a:pt x="583" y="179"/>
                </a:lnTo>
                <a:cubicBezTo>
                  <a:pt x="584" y="176"/>
                  <a:pt x="588" y="174"/>
                  <a:pt x="591" y="176"/>
                </a:cubicBezTo>
                <a:cubicBezTo>
                  <a:pt x="593" y="177"/>
                  <a:pt x="595" y="180"/>
                  <a:pt x="594" y="182"/>
                </a:cubicBezTo>
                <a:lnTo>
                  <a:pt x="576" y="303"/>
                </a:lnTo>
                <a:lnTo>
                  <a:pt x="615" y="307"/>
                </a:lnTo>
                <a:cubicBezTo>
                  <a:pt x="617" y="307"/>
                  <a:pt x="618" y="308"/>
                  <a:pt x="619" y="310"/>
                </a:cubicBezTo>
                <a:lnTo>
                  <a:pt x="674" y="385"/>
                </a:lnTo>
                <a:cubicBezTo>
                  <a:pt x="676" y="387"/>
                  <a:pt x="675" y="391"/>
                  <a:pt x="672" y="393"/>
                </a:cubicBezTo>
                <a:cubicBezTo>
                  <a:pt x="670" y="394"/>
                  <a:pt x="667" y="394"/>
                  <a:pt x="665" y="393"/>
                </a:cubicBezTo>
                <a:lnTo>
                  <a:pt x="576" y="321"/>
                </a:lnTo>
                <a:lnTo>
                  <a:pt x="586" y="513"/>
                </a:lnTo>
                <a:cubicBezTo>
                  <a:pt x="617" y="525"/>
                  <a:pt x="641" y="540"/>
                  <a:pt x="656" y="557"/>
                </a:cubicBezTo>
                <a:cubicBezTo>
                  <a:pt x="660" y="562"/>
                  <a:pt x="660" y="569"/>
                  <a:pt x="655" y="573"/>
                </a:cubicBezTo>
                <a:cubicBezTo>
                  <a:pt x="653" y="575"/>
                  <a:pt x="650" y="576"/>
                  <a:pt x="647" y="576"/>
                </a:cubicBezTo>
                <a:lnTo>
                  <a:pt x="647" y="576"/>
                </a:lnTo>
                <a:lnTo>
                  <a:pt x="43" y="576"/>
                </a:lnTo>
                <a:cubicBezTo>
                  <a:pt x="36" y="576"/>
                  <a:pt x="31" y="571"/>
                  <a:pt x="31" y="565"/>
                </a:cubicBezTo>
                <a:cubicBezTo>
                  <a:pt x="31" y="561"/>
                  <a:pt x="32" y="558"/>
                  <a:pt x="35" y="556"/>
                </a:cubicBezTo>
                <a:cubicBezTo>
                  <a:pt x="50" y="539"/>
                  <a:pt x="75" y="524"/>
                  <a:pt x="107" y="511"/>
                </a:cubicBezTo>
                <a:lnTo>
                  <a:pt x="115" y="331"/>
                </a:lnTo>
                <a:lnTo>
                  <a:pt x="103" y="348"/>
                </a:lnTo>
                <a:cubicBezTo>
                  <a:pt x="102" y="349"/>
                  <a:pt x="100" y="350"/>
                  <a:pt x="99" y="350"/>
                </a:cubicBezTo>
                <a:lnTo>
                  <a:pt x="99" y="350"/>
                </a:lnTo>
                <a:lnTo>
                  <a:pt x="6" y="360"/>
                </a:lnTo>
                <a:cubicBezTo>
                  <a:pt x="3" y="361"/>
                  <a:pt x="0" y="358"/>
                  <a:pt x="0" y="355"/>
                </a:cubicBezTo>
                <a:cubicBezTo>
                  <a:pt x="0" y="352"/>
                  <a:pt x="1" y="350"/>
                  <a:pt x="4" y="349"/>
                </a:cubicBezTo>
                <a:lnTo>
                  <a:pt x="117" y="305"/>
                </a:lnTo>
                <a:lnTo>
                  <a:pt x="102" y="268"/>
                </a:lnTo>
                <a:cubicBezTo>
                  <a:pt x="101" y="267"/>
                  <a:pt x="101" y="265"/>
                  <a:pt x="102" y="264"/>
                </a:cubicBezTo>
                <a:lnTo>
                  <a:pt x="139" y="179"/>
                </a:lnTo>
                <a:cubicBezTo>
                  <a:pt x="140" y="176"/>
                  <a:pt x="144" y="174"/>
                  <a:pt x="147" y="176"/>
                </a:cubicBezTo>
                <a:cubicBezTo>
                  <a:pt x="149" y="177"/>
                  <a:pt x="151" y="180"/>
                  <a:pt x="150" y="182"/>
                </a:cubicBezTo>
                <a:lnTo>
                  <a:pt x="132" y="303"/>
                </a:lnTo>
                <a:lnTo>
                  <a:pt x="171" y="307"/>
                </a:lnTo>
                <a:cubicBezTo>
                  <a:pt x="173" y="307"/>
                  <a:pt x="175" y="308"/>
                  <a:pt x="175" y="310"/>
                </a:cubicBezTo>
                <a:lnTo>
                  <a:pt x="230" y="385"/>
                </a:lnTo>
                <a:cubicBezTo>
                  <a:pt x="232" y="387"/>
                  <a:pt x="231" y="391"/>
                  <a:pt x="229" y="393"/>
                </a:cubicBezTo>
                <a:cubicBezTo>
                  <a:pt x="226" y="394"/>
                  <a:pt x="224" y="394"/>
                  <a:pt x="222" y="393"/>
                </a:cubicBezTo>
                <a:lnTo>
                  <a:pt x="132" y="321"/>
                </a:lnTo>
                <a:lnTo>
                  <a:pt x="142" y="499"/>
                </a:lnTo>
                <a:cubicBezTo>
                  <a:pt x="146" y="498"/>
                  <a:pt x="151" y="497"/>
                  <a:pt x="155" y="496"/>
                </a:cubicBezTo>
                <a:cubicBezTo>
                  <a:pt x="202" y="483"/>
                  <a:pt x="258" y="476"/>
                  <a:pt x="319" y="474"/>
                </a:cubicBezTo>
                <a:lnTo>
                  <a:pt x="332" y="208"/>
                </a:lnTo>
                <a:lnTo>
                  <a:pt x="312" y="234"/>
                </a:lnTo>
                <a:cubicBezTo>
                  <a:pt x="311" y="235"/>
                  <a:pt x="310" y="236"/>
                  <a:pt x="308" y="236"/>
                </a:cubicBezTo>
                <a:lnTo>
                  <a:pt x="182" y="250"/>
                </a:lnTo>
                <a:cubicBezTo>
                  <a:pt x="179" y="250"/>
                  <a:pt x="176" y="248"/>
                  <a:pt x="176" y="244"/>
                </a:cubicBezTo>
                <a:cubicBezTo>
                  <a:pt x="175" y="242"/>
                  <a:pt x="177" y="239"/>
                  <a:pt x="180" y="238"/>
                </a:cubicBezTo>
                <a:lnTo>
                  <a:pt x="337" y="177"/>
                </a:lnTo>
                <a:lnTo>
                  <a:pt x="314" y="125"/>
                </a:lnTo>
                <a:cubicBezTo>
                  <a:pt x="314" y="124"/>
                  <a:pt x="314" y="122"/>
                  <a:pt x="315" y="121"/>
                </a:cubicBezTo>
                <a:lnTo>
                  <a:pt x="366" y="5"/>
                </a:lnTo>
                <a:cubicBezTo>
                  <a:pt x="367" y="2"/>
                  <a:pt x="371" y="0"/>
                  <a:pt x="374" y="1"/>
                </a:cubicBezTo>
                <a:cubicBezTo>
                  <a:pt x="376" y="3"/>
                  <a:pt x="378" y="5"/>
                  <a:pt x="377" y="8"/>
                </a:cubicBezTo>
                <a:lnTo>
                  <a:pt x="352" y="175"/>
                </a:lnTo>
                <a:lnTo>
                  <a:pt x="407" y="181"/>
                </a:lnTo>
                <a:cubicBezTo>
                  <a:pt x="409" y="182"/>
                  <a:pt x="411" y="183"/>
                  <a:pt x="412" y="184"/>
                </a:cubicBezTo>
                <a:lnTo>
                  <a:pt x="486" y="286"/>
                </a:lnTo>
                <a:cubicBezTo>
                  <a:pt x="488" y="289"/>
                  <a:pt x="488" y="293"/>
                  <a:pt x="485" y="295"/>
                </a:cubicBezTo>
                <a:cubicBezTo>
                  <a:pt x="483" y="296"/>
                  <a:pt x="480" y="296"/>
                  <a:pt x="478" y="294"/>
                </a:cubicBezTo>
                <a:lnTo>
                  <a:pt x="354" y="195"/>
                </a:lnTo>
                <a:lnTo>
                  <a:pt x="368" y="474"/>
                </a:lnTo>
                <a:lnTo>
                  <a:pt x="368" y="474"/>
                </a:lnTo>
              </a:path>
            </a:pathLst>
          </a:cu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fr-FR" sz="105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12" name="Train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2238CF1-5417-4681-9B40-E5D28CD7BEA6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8435486" y="2160893"/>
            <a:ext cx="255872" cy="407194"/>
            <a:chOff x="101" y="22"/>
            <a:chExt cx="279" cy="444"/>
          </a:xfrm>
          <a:solidFill>
            <a:schemeClr val="accent1"/>
          </a:solidFill>
        </p:grpSpPr>
        <p:sp>
          <p:nvSpPr>
            <p:cNvPr id="113" name="Train2">
              <a:extLst>
                <a:ext uri="{FF2B5EF4-FFF2-40B4-BE49-F238E27FC236}">
                  <a16:creationId xmlns:a16="http://schemas.microsoft.com/office/drawing/2014/main" id="{3F2E15F6-D467-4F7C-81E9-9FFBD133A000}"/>
                </a:ext>
              </a:extLst>
            </p:cNvPr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101" y="22"/>
              <a:ext cx="279" cy="444"/>
            </a:xfrm>
            <a:custGeom>
              <a:avLst/>
              <a:gdLst>
                <a:gd name="T0" fmla="*/ 381 w 744"/>
                <a:gd name="T1" fmla="*/ 18 h 1178"/>
                <a:gd name="T2" fmla="*/ 418 w 744"/>
                <a:gd name="T3" fmla="*/ 18 h 1178"/>
                <a:gd name="T4" fmla="*/ 345 w 744"/>
                <a:gd name="T5" fmla="*/ 0 h 1178"/>
                <a:gd name="T6" fmla="*/ 345 w 744"/>
                <a:gd name="T7" fmla="*/ 36 h 1178"/>
                <a:gd name="T8" fmla="*/ 345 w 744"/>
                <a:gd name="T9" fmla="*/ 0 h 1178"/>
                <a:gd name="T10" fmla="*/ 649 w 744"/>
                <a:gd name="T11" fmla="*/ 1093 h 1178"/>
                <a:gd name="T12" fmla="*/ 667 w 744"/>
                <a:gd name="T13" fmla="*/ 1037 h 1178"/>
                <a:gd name="T14" fmla="*/ 590 w 744"/>
                <a:gd name="T15" fmla="*/ 993 h 1178"/>
                <a:gd name="T16" fmla="*/ 581 w 744"/>
                <a:gd name="T17" fmla="*/ 927 h 1178"/>
                <a:gd name="T18" fmla="*/ 528 w 744"/>
                <a:gd name="T19" fmla="*/ 886 h 1178"/>
                <a:gd name="T20" fmla="*/ 627 w 744"/>
                <a:gd name="T21" fmla="*/ 738 h 1178"/>
                <a:gd name="T22" fmla="*/ 647 w 744"/>
                <a:gd name="T23" fmla="*/ 260 h 1178"/>
                <a:gd name="T24" fmla="*/ 583 w 744"/>
                <a:gd name="T25" fmla="*/ 113 h 1178"/>
                <a:gd name="T26" fmla="*/ 372 w 744"/>
                <a:gd name="T27" fmla="*/ 47 h 1178"/>
                <a:gd name="T28" fmla="*/ 161 w 744"/>
                <a:gd name="T29" fmla="*/ 113 h 1178"/>
                <a:gd name="T30" fmla="*/ 97 w 744"/>
                <a:gd name="T31" fmla="*/ 260 h 1178"/>
                <a:gd name="T32" fmla="*/ 117 w 744"/>
                <a:gd name="T33" fmla="*/ 738 h 1178"/>
                <a:gd name="T34" fmla="*/ 216 w 744"/>
                <a:gd name="T35" fmla="*/ 886 h 1178"/>
                <a:gd name="T36" fmla="*/ 163 w 744"/>
                <a:gd name="T37" fmla="*/ 927 h 1178"/>
                <a:gd name="T38" fmla="*/ 154 w 744"/>
                <a:gd name="T39" fmla="*/ 993 h 1178"/>
                <a:gd name="T40" fmla="*/ 77 w 744"/>
                <a:gd name="T41" fmla="*/ 1037 h 1178"/>
                <a:gd name="T42" fmla="*/ 95 w 744"/>
                <a:gd name="T43" fmla="*/ 1093 h 1178"/>
                <a:gd name="T44" fmla="*/ 0 w 744"/>
                <a:gd name="T45" fmla="*/ 1143 h 1178"/>
                <a:gd name="T46" fmla="*/ 44 w 744"/>
                <a:gd name="T47" fmla="*/ 1178 h 1178"/>
                <a:gd name="T48" fmla="*/ 101 w 744"/>
                <a:gd name="T49" fmla="*/ 1143 h 1178"/>
                <a:gd name="T50" fmla="*/ 665 w 744"/>
                <a:gd name="T51" fmla="*/ 1178 h 1178"/>
                <a:gd name="T52" fmla="*/ 678 w 744"/>
                <a:gd name="T53" fmla="*/ 1143 h 1178"/>
                <a:gd name="T54" fmla="*/ 707 w 744"/>
                <a:gd name="T55" fmla="*/ 1093 h 1178"/>
                <a:gd name="T56" fmla="*/ 379 w 744"/>
                <a:gd name="T57" fmla="*/ 124 h 1178"/>
                <a:gd name="T58" fmla="*/ 390 w 744"/>
                <a:gd name="T59" fmla="*/ 62 h 1178"/>
                <a:gd name="T60" fmla="*/ 553 w 744"/>
                <a:gd name="T61" fmla="*/ 102 h 1178"/>
                <a:gd name="T62" fmla="*/ 559 w 744"/>
                <a:gd name="T63" fmla="*/ 172 h 1178"/>
                <a:gd name="T64" fmla="*/ 568 w 744"/>
                <a:gd name="T65" fmla="*/ 366 h 1178"/>
                <a:gd name="T66" fmla="*/ 616 w 744"/>
                <a:gd name="T67" fmla="*/ 366 h 1178"/>
                <a:gd name="T68" fmla="*/ 372 w 744"/>
                <a:gd name="T69" fmla="*/ 249 h 1178"/>
                <a:gd name="T70" fmla="*/ 372 w 744"/>
                <a:gd name="T71" fmla="*/ 166 h 1178"/>
                <a:gd name="T72" fmla="*/ 372 w 744"/>
                <a:gd name="T73" fmla="*/ 249 h 1178"/>
                <a:gd name="T74" fmla="*/ 171 w 744"/>
                <a:gd name="T75" fmla="*/ 166 h 1178"/>
                <a:gd name="T76" fmla="*/ 204 w 744"/>
                <a:gd name="T77" fmla="*/ 91 h 1178"/>
                <a:gd name="T78" fmla="*/ 365 w 744"/>
                <a:gd name="T79" fmla="*/ 71 h 1178"/>
                <a:gd name="T80" fmla="*/ 185 w 744"/>
                <a:gd name="T81" fmla="*/ 172 h 1178"/>
                <a:gd name="T82" fmla="*/ 128 w 744"/>
                <a:gd name="T83" fmla="*/ 366 h 1178"/>
                <a:gd name="T84" fmla="*/ 176 w 744"/>
                <a:gd name="T85" fmla="*/ 366 h 1178"/>
                <a:gd name="T86" fmla="*/ 563 w 744"/>
                <a:gd name="T87" fmla="*/ 723 h 1178"/>
                <a:gd name="T88" fmla="*/ 475 w 744"/>
                <a:gd name="T89" fmla="*/ 822 h 1178"/>
                <a:gd name="T90" fmla="*/ 475 w 744"/>
                <a:gd name="T91" fmla="*/ 723 h 1178"/>
                <a:gd name="T92" fmla="*/ 420 w 744"/>
                <a:gd name="T93" fmla="*/ 822 h 1178"/>
                <a:gd name="T94" fmla="*/ 387 w 744"/>
                <a:gd name="T95" fmla="*/ 723 h 1178"/>
                <a:gd name="T96" fmla="*/ 363 w 744"/>
                <a:gd name="T97" fmla="*/ 822 h 1178"/>
                <a:gd name="T98" fmla="*/ 299 w 744"/>
                <a:gd name="T99" fmla="*/ 723 h 1178"/>
                <a:gd name="T100" fmla="*/ 303 w 744"/>
                <a:gd name="T101" fmla="*/ 822 h 1178"/>
                <a:gd name="T102" fmla="*/ 216 w 744"/>
                <a:gd name="T103" fmla="*/ 723 h 1178"/>
                <a:gd name="T104" fmla="*/ 246 w 744"/>
                <a:gd name="T105" fmla="*/ 822 h 1178"/>
                <a:gd name="T106" fmla="*/ 136 w 744"/>
                <a:gd name="T107" fmla="*/ 723 h 1178"/>
                <a:gd name="T108" fmla="*/ 608 w 744"/>
                <a:gd name="T109" fmla="*/ 698 h 1178"/>
                <a:gd name="T110" fmla="*/ 563 w 744"/>
                <a:gd name="T111" fmla="*/ 723 h 1178"/>
                <a:gd name="T112" fmla="*/ 257 w 744"/>
                <a:gd name="T113" fmla="*/ 837 h 1178"/>
                <a:gd name="T114" fmla="*/ 488 w 744"/>
                <a:gd name="T115" fmla="*/ 886 h 1178"/>
                <a:gd name="T116" fmla="*/ 183 w 744"/>
                <a:gd name="T117" fmla="*/ 993 h 1178"/>
                <a:gd name="T118" fmla="*/ 526 w 744"/>
                <a:gd name="T119" fmla="*/ 927 h 1178"/>
                <a:gd name="T120" fmla="*/ 183 w 744"/>
                <a:gd name="T121" fmla="*/ 993 h 1178"/>
                <a:gd name="T122" fmla="*/ 160 w 744"/>
                <a:gd name="T123" fmla="*/ 1037 h 1178"/>
                <a:gd name="T124" fmla="*/ 618 w 744"/>
                <a:gd name="T125" fmla="*/ 1093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4" h="1178">
                  <a:moveTo>
                    <a:pt x="400" y="0"/>
                  </a:moveTo>
                  <a:cubicBezTo>
                    <a:pt x="389" y="0"/>
                    <a:pt x="381" y="7"/>
                    <a:pt x="381" y="18"/>
                  </a:cubicBezTo>
                  <a:cubicBezTo>
                    <a:pt x="381" y="29"/>
                    <a:pt x="389" y="36"/>
                    <a:pt x="400" y="36"/>
                  </a:cubicBezTo>
                  <a:cubicBezTo>
                    <a:pt x="411" y="36"/>
                    <a:pt x="418" y="29"/>
                    <a:pt x="418" y="18"/>
                  </a:cubicBezTo>
                  <a:cubicBezTo>
                    <a:pt x="418" y="7"/>
                    <a:pt x="411" y="0"/>
                    <a:pt x="400" y="0"/>
                  </a:cubicBezTo>
                  <a:close/>
                  <a:moveTo>
                    <a:pt x="345" y="0"/>
                  </a:moveTo>
                  <a:cubicBezTo>
                    <a:pt x="334" y="0"/>
                    <a:pt x="326" y="7"/>
                    <a:pt x="326" y="18"/>
                  </a:cubicBezTo>
                  <a:cubicBezTo>
                    <a:pt x="326" y="29"/>
                    <a:pt x="334" y="36"/>
                    <a:pt x="345" y="36"/>
                  </a:cubicBezTo>
                  <a:cubicBezTo>
                    <a:pt x="356" y="36"/>
                    <a:pt x="363" y="29"/>
                    <a:pt x="363" y="18"/>
                  </a:cubicBezTo>
                  <a:cubicBezTo>
                    <a:pt x="363" y="7"/>
                    <a:pt x="356" y="0"/>
                    <a:pt x="345" y="0"/>
                  </a:cubicBezTo>
                  <a:close/>
                  <a:moveTo>
                    <a:pt x="707" y="1093"/>
                  </a:moveTo>
                  <a:lnTo>
                    <a:pt x="649" y="1093"/>
                  </a:lnTo>
                  <a:lnTo>
                    <a:pt x="616" y="1037"/>
                  </a:lnTo>
                  <a:lnTo>
                    <a:pt x="667" y="1037"/>
                  </a:lnTo>
                  <a:lnTo>
                    <a:pt x="632" y="993"/>
                  </a:lnTo>
                  <a:lnTo>
                    <a:pt x="590" y="993"/>
                  </a:lnTo>
                  <a:lnTo>
                    <a:pt x="552" y="927"/>
                  </a:lnTo>
                  <a:lnTo>
                    <a:pt x="581" y="927"/>
                  </a:lnTo>
                  <a:lnTo>
                    <a:pt x="552" y="886"/>
                  </a:lnTo>
                  <a:lnTo>
                    <a:pt x="528" y="886"/>
                  </a:lnTo>
                  <a:lnTo>
                    <a:pt x="528" y="833"/>
                  </a:lnTo>
                  <a:lnTo>
                    <a:pt x="627" y="738"/>
                  </a:lnTo>
                  <a:cubicBezTo>
                    <a:pt x="627" y="738"/>
                    <a:pt x="647" y="723"/>
                    <a:pt x="647" y="690"/>
                  </a:cubicBezTo>
                  <a:lnTo>
                    <a:pt x="647" y="260"/>
                  </a:lnTo>
                  <a:cubicBezTo>
                    <a:pt x="645" y="216"/>
                    <a:pt x="605" y="205"/>
                    <a:pt x="605" y="194"/>
                  </a:cubicBezTo>
                  <a:lnTo>
                    <a:pt x="583" y="113"/>
                  </a:lnTo>
                  <a:cubicBezTo>
                    <a:pt x="581" y="104"/>
                    <a:pt x="572" y="87"/>
                    <a:pt x="552" y="78"/>
                  </a:cubicBezTo>
                  <a:cubicBezTo>
                    <a:pt x="528" y="67"/>
                    <a:pt x="447" y="45"/>
                    <a:pt x="372" y="47"/>
                  </a:cubicBezTo>
                  <a:cubicBezTo>
                    <a:pt x="297" y="45"/>
                    <a:pt x="216" y="67"/>
                    <a:pt x="193" y="78"/>
                  </a:cubicBezTo>
                  <a:cubicBezTo>
                    <a:pt x="172" y="87"/>
                    <a:pt x="163" y="104"/>
                    <a:pt x="161" y="113"/>
                  </a:cubicBezTo>
                  <a:lnTo>
                    <a:pt x="139" y="194"/>
                  </a:lnTo>
                  <a:cubicBezTo>
                    <a:pt x="139" y="205"/>
                    <a:pt x="99" y="216"/>
                    <a:pt x="97" y="260"/>
                  </a:cubicBezTo>
                  <a:lnTo>
                    <a:pt x="97" y="690"/>
                  </a:lnTo>
                  <a:cubicBezTo>
                    <a:pt x="97" y="723"/>
                    <a:pt x="117" y="738"/>
                    <a:pt x="117" y="738"/>
                  </a:cubicBezTo>
                  <a:lnTo>
                    <a:pt x="216" y="833"/>
                  </a:lnTo>
                  <a:lnTo>
                    <a:pt x="216" y="886"/>
                  </a:lnTo>
                  <a:lnTo>
                    <a:pt x="193" y="886"/>
                  </a:lnTo>
                  <a:lnTo>
                    <a:pt x="163" y="927"/>
                  </a:lnTo>
                  <a:lnTo>
                    <a:pt x="193" y="927"/>
                  </a:lnTo>
                  <a:lnTo>
                    <a:pt x="154" y="993"/>
                  </a:lnTo>
                  <a:lnTo>
                    <a:pt x="112" y="993"/>
                  </a:lnTo>
                  <a:lnTo>
                    <a:pt x="77" y="1037"/>
                  </a:lnTo>
                  <a:lnTo>
                    <a:pt x="128" y="1037"/>
                  </a:lnTo>
                  <a:lnTo>
                    <a:pt x="95" y="1093"/>
                  </a:lnTo>
                  <a:lnTo>
                    <a:pt x="37" y="1093"/>
                  </a:lnTo>
                  <a:lnTo>
                    <a:pt x="0" y="1143"/>
                  </a:lnTo>
                  <a:lnTo>
                    <a:pt x="66" y="1143"/>
                  </a:lnTo>
                  <a:lnTo>
                    <a:pt x="44" y="1178"/>
                  </a:lnTo>
                  <a:lnTo>
                    <a:pt x="79" y="1178"/>
                  </a:lnTo>
                  <a:lnTo>
                    <a:pt x="101" y="1143"/>
                  </a:lnTo>
                  <a:lnTo>
                    <a:pt x="643" y="1143"/>
                  </a:lnTo>
                  <a:lnTo>
                    <a:pt x="665" y="1178"/>
                  </a:lnTo>
                  <a:lnTo>
                    <a:pt x="700" y="1178"/>
                  </a:lnTo>
                  <a:lnTo>
                    <a:pt x="678" y="1143"/>
                  </a:lnTo>
                  <a:lnTo>
                    <a:pt x="744" y="1143"/>
                  </a:lnTo>
                  <a:lnTo>
                    <a:pt x="707" y="1093"/>
                  </a:lnTo>
                  <a:close/>
                  <a:moveTo>
                    <a:pt x="559" y="172"/>
                  </a:moveTo>
                  <a:cubicBezTo>
                    <a:pt x="519" y="146"/>
                    <a:pt x="414" y="126"/>
                    <a:pt x="379" y="124"/>
                  </a:cubicBezTo>
                  <a:lnTo>
                    <a:pt x="379" y="71"/>
                  </a:lnTo>
                  <a:cubicBezTo>
                    <a:pt x="381" y="64"/>
                    <a:pt x="387" y="62"/>
                    <a:pt x="390" y="62"/>
                  </a:cubicBezTo>
                  <a:cubicBezTo>
                    <a:pt x="423" y="58"/>
                    <a:pt x="524" y="82"/>
                    <a:pt x="541" y="91"/>
                  </a:cubicBezTo>
                  <a:cubicBezTo>
                    <a:pt x="548" y="95"/>
                    <a:pt x="550" y="95"/>
                    <a:pt x="553" y="102"/>
                  </a:cubicBezTo>
                  <a:lnTo>
                    <a:pt x="574" y="166"/>
                  </a:lnTo>
                  <a:cubicBezTo>
                    <a:pt x="575" y="172"/>
                    <a:pt x="564" y="175"/>
                    <a:pt x="559" y="172"/>
                  </a:cubicBezTo>
                  <a:close/>
                  <a:moveTo>
                    <a:pt x="592" y="388"/>
                  </a:moveTo>
                  <a:cubicBezTo>
                    <a:pt x="579" y="388"/>
                    <a:pt x="568" y="379"/>
                    <a:pt x="568" y="366"/>
                  </a:cubicBezTo>
                  <a:cubicBezTo>
                    <a:pt x="568" y="353"/>
                    <a:pt x="579" y="342"/>
                    <a:pt x="592" y="342"/>
                  </a:cubicBezTo>
                  <a:cubicBezTo>
                    <a:pt x="605" y="342"/>
                    <a:pt x="616" y="353"/>
                    <a:pt x="616" y="366"/>
                  </a:cubicBezTo>
                  <a:cubicBezTo>
                    <a:pt x="616" y="379"/>
                    <a:pt x="605" y="388"/>
                    <a:pt x="592" y="388"/>
                  </a:cubicBezTo>
                  <a:close/>
                  <a:moveTo>
                    <a:pt x="372" y="249"/>
                  </a:moveTo>
                  <a:cubicBezTo>
                    <a:pt x="350" y="249"/>
                    <a:pt x="330" y="230"/>
                    <a:pt x="330" y="208"/>
                  </a:cubicBezTo>
                  <a:cubicBezTo>
                    <a:pt x="330" y="186"/>
                    <a:pt x="350" y="166"/>
                    <a:pt x="372" y="166"/>
                  </a:cubicBezTo>
                  <a:cubicBezTo>
                    <a:pt x="394" y="166"/>
                    <a:pt x="414" y="186"/>
                    <a:pt x="414" y="208"/>
                  </a:cubicBezTo>
                  <a:cubicBezTo>
                    <a:pt x="414" y="230"/>
                    <a:pt x="394" y="249"/>
                    <a:pt x="372" y="249"/>
                  </a:cubicBezTo>
                  <a:close/>
                  <a:moveTo>
                    <a:pt x="185" y="172"/>
                  </a:moveTo>
                  <a:cubicBezTo>
                    <a:pt x="180" y="175"/>
                    <a:pt x="169" y="172"/>
                    <a:pt x="171" y="166"/>
                  </a:cubicBezTo>
                  <a:lnTo>
                    <a:pt x="191" y="102"/>
                  </a:lnTo>
                  <a:cubicBezTo>
                    <a:pt x="194" y="95"/>
                    <a:pt x="196" y="95"/>
                    <a:pt x="204" y="91"/>
                  </a:cubicBezTo>
                  <a:cubicBezTo>
                    <a:pt x="220" y="82"/>
                    <a:pt x="321" y="58"/>
                    <a:pt x="354" y="62"/>
                  </a:cubicBezTo>
                  <a:cubicBezTo>
                    <a:pt x="357" y="62"/>
                    <a:pt x="363" y="64"/>
                    <a:pt x="365" y="71"/>
                  </a:cubicBezTo>
                  <a:lnTo>
                    <a:pt x="365" y="124"/>
                  </a:lnTo>
                  <a:cubicBezTo>
                    <a:pt x="330" y="126"/>
                    <a:pt x="226" y="146"/>
                    <a:pt x="185" y="172"/>
                  </a:cubicBezTo>
                  <a:close/>
                  <a:moveTo>
                    <a:pt x="152" y="388"/>
                  </a:moveTo>
                  <a:cubicBezTo>
                    <a:pt x="139" y="388"/>
                    <a:pt x="128" y="379"/>
                    <a:pt x="128" y="366"/>
                  </a:cubicBezTo>
                  <a:cubicBezTo>
                    <a:pt x="128" y="353"/>
                    <a:pt x="139" y="342"/>
                    <a:pt x="152" y="342"/>
                  </a:cubicBezTo>
                  <a:cubicBezTo>
                    <a:pt x="165" y="342"/>
                    <a:pt x="176" y="353"/>
                    <a:pt x="176" y="366"/>
                  </a:cubicBezTo>
                  <a:cubicBezTo>
                    <a:pt x="176" y="379"/>
                    <a:pt x="165" y="388"/>
                    <a:pt x="152" y="388"/>
                  </a:cubicBezTo>
                  <a:close/>
                  <a:moveTo>
                    <a:pt x="563" y="723"/>
                  </a:moveTo>
                  <a:lnTo>
                    <a:pt x="499" y="822"/>
                  </a:lnTo>
                  <a:lnTo>
                    <a:pt x="475" y="822"/>
                  </a:lnTo>
                  <a:lnTo>
                    <a:pt x="528" y="723"/>
                  </a:lnTo>
                  <a:lnTo>
                    <a:pt x="475" y="723"/>
                  </a:lnTo>
                  <a:lnTo>
                    <a:pt x="442" y="822"/>
                  </a:lnTo>
                  <a:lnTo>
                    <a:pt x="420" y="822"/>
                  </a:lnTo>
                  <a:lnTo>
                    <a:pt x="445" y="723"/>
                  </a:lnTo>
                  <a:lnTo>
                    <a:pt x="387" y="723"/>
                  </a:lnTo>
                  <a:lnTo>
                    <a:pt x="381" y="822"/>
                  </a:lnTo>
                  <a:lnTo>
                    <a:pt x="363" y="822"/>
                  </a:lnTo>
                  <a:lnTo>
                    <a:pt x="357" y="723"/>
                  </a:lnTo>
                  <a:lnTo>
                    <a:pt x="299" y="723"/>
                  </a:lnTo>
                  <a:lnTo>
                    <a:pt x="323" y="822"/>
                  </a:lnTo>
                  <a:lnTo>
                    <a:pt x="303" y="822"/>
                  </a:lnTo>
                  <a:lnTo>
                    <a:pt x="268" y="723"/>
                  </a:lnTo>
                  <a:lnTo>
                    <a:pt x="216" y="723"/>
                  </a:lnTo>
                  <a:lnTo>
                    <a:pt x="270" y="822"/>
                  </a:lnTo>
                  <a:lnTo>
                    <a:pt x="246" y="822"/>
                  </a:lnTo>
                  <a:lnTo>
                    <a:pt x="182" y="723"/>
                  </a:lnTo>
                  <a:lnTo>
                    <a:pt x="136" y="723"/>
                  </a:lnTo>
                  <a:lnTo>
                    <a:pt x="136" y="698"/>
                  </a:lnTo>
                  <a:lnTo>
                    <a:pt x="608" y="698"/>
                  </a:lnTo>
                  <a:lnTo>
                    <a:pt x="608" y="723"/>
                  </a:lnTo>
                  <a:lnTo>
                    <a:pt x="563" y="723"/>
                  </a:lnTo>
                  <a:close/>
                  <a:moveTo>
                    <a:pt x="257" y="886"/>
                  </a:moveTo>
                  <a:lnTo>
                    <a:pt x="257" y="837"/>
                  </a:lnTo>
                  <a:lnTo>
                    <a:pt x="488" y="837"/>
                  </a:lnTo>
                  <a:lnTo>
                    <a:pt x="488" y="886"/>
                  </a:lnTo>
                  <a:lnTo>
                    <a:pt x="257" y="886"/>
                  </a:lnTo>
                  <a:close/>
                  <a:moveTo>
                    <a:pt x="183" y="993"/>
                  </a:moveTo>
                  <a:lnTo>
                    <a:pt x="218" y="927"/>
                  </a:lnTo>
                  <a:lnTo>
                    <a:pt x="526" y="927"/>
                  </a:lnTo>
                  <a:lnTo>
                    <a:pt x="561" y="993"/>
                  </a:lnTo>
                  <a:lnTo>
                    <a:pt x="183" y="993"/>
                  </a:lnTo>
                  <a:close/>
                  <a:moveTo>
                    <a:pt x="127" y="1093"/>
                  </a:moveTo>
                  <a:lnTo>
                    <a:pt x="160" y="1037"/>
                  </a:lnTo>
                  <a:lnTo>
                    <a:pt x="585" y="1037"/>
                  </a:lnTo>
                  <a:lnTo>
                    <a:pt x="618" y="1093"/>
                  </a:lnTo>
                  <a:lnTo>
                    <a:pt x="127" y="1093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Train2">
              <a:extLst>
                <a:ext uri="{FF2B5EF4-FFF2-40B4-BE49-F238E27FC236}">
                  <a16:creationId xmlns:a16="http://schemas.microsoft.com/office/drawing/2014/main" id="{D500F2F8-8BB7-42F0-AC15-2E1DF7CA0994}"/>
                </a:ext>
              </a:extLst>
            </p:cNvPr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auto">
            <a:xfrm>
              <a:off x="238" y="6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15" name="Dam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51F8416-5D83-4112-9C62-F7B3094526E4}"/>
              </a:ext>
            </a:extLst>
          </p:cNvPr>
          <p:cNvSpPr>
            <a:spLocks noChangeAspect="1" noEditPoints="1"/>
          </p:cNvSpPr>
          <p:nvPr>
            <p:custDataLst>
              <p:tags r:id="rId12"/>
            </p:custDataLst>
          </p:nvPr>
        </p:nvSpPr>
        <p:spPr bwMode="auto">
          <a:xfrm>
            <a:off x="638115" y="3106511"/>
            <a:ext cx="454541" cy="407194"/>
          </a:xfrm>
          <a:custGeom>
            <a:avLst/>
            <a:gdLst>
              <a:gd name="T0" fmla="*/ 460 w 700"/>
              <a:gd name="T1" fmla="*/ 47 h 627"/>
              <a:gd name="T2" fmla="*/ 318 w 700"/>
              <a:gd name="T3" fmla="*/ 47 h 627"/>
              <a:gd name="T4" fmla="*/ 318 w 700"/>
              <a:gd name="T5" fmla="*/ 94 h 627"/>
              <a:gd name="T6" fmla="*/ 460 w 700"/>
              <a:gd name="T7" fmla="*/ 94 h 627"/>
              <a:gd name="T8" fmla="*/ 460 w 700"/>
              <a:gd name="T9" fmla="*/ 47 h 627"/>
              <a:gd name="T10" fmla="*/ 637 w 700"/>
              <a:gd name="T11" fmla="*/ 47 h 627"/>
              <a:gd name="T12" fmla="*/ 495 w 700"/>
              <a:gd name="T13" fmla="*/ 47 h 627"/>
              <a:gd name="T14" fmla="*/ 495 w 700"/>
              <a:gd name="T15" fmla="*/ 94 h 627"/>
              <a:gd name="T16" fmla="*/ 637 w 700"/>
              <a:gd name="T17" fmla="*/ 94 h 627"/>
              <a:gd name="T18" fmla="*/ 637 w 700"/>
              <a:gd name="T19" fmla="*/ 47 h 627"/>
              <a:gd name="T20" fmla="*/ 106 w 700"/>
              <a:gd name="T21" fmla="*/ 0 h 627"/>
              <a:gd name="T22" fmla="*/ 700 w 700"/>
              <a:gd name="T23" fmla="*/ 0 h 627"/>
              <a:gd name="T24" fmla="*/ 700 w 700"/>
              <a:gd name="T25" fmla="*/ 627 h 627"/>
              <a:gd name="T26" fmla="*/ 531 w 700"/>
              <a:gd name="T27" fmla="*/ 627 h 627"/>
              <a:gd name="T28" fmla="*/ 637 w 700"/>
              <a:gd name="T29" fmla="*/ 231 h 627"/>
              <a:gd name="T30" fmla="*/ 637 w 700"/>
              <a:gd name="T31" fmla="*/ 142 h 627"/>
              <a:gd name="T32" fmla="*/ 601 w 700"/>
              <a:gd name="T33" fmla="*/ 142 h 627"/>
              <a:gd name="T34" fmla="*/ 601 w 700"/>
              <a:gd name="T35" fmla="*/ 233 h 627"/>
              <a:gd name="T36" fmla="*/ 490 w 700"/>
              <a:gd name="T37" fmla="*/ 356 h 627"/>
              <a:gd name="T38" fmla="*/ 418 w 700"/>
              <a:gd name="T39" fmla="*/ 627 h 627"/>
              <a:gd name="T40" fmla="*/ 354 w 700"/>
              <a:gd name="T41" fmla="*/ 627 h 627"/>
              <a:gd name="T42" fmla="*/ 460 w 700"/>
              <a:gd name="T43" fmla="*/ 231 h 627"/>
              <a:gd name="T44" fmla="*/ 460 w 700"/>
              <a:gd name="T45" fmla="*/ 142 h 627"/>
              <a:gd name="T46" fmla="*/ 424 w 700"/>
              <a:gd name="T47" fmla="*/ 142 h 627"/>
              <a:gd name="T48" fmla="*/ 424 w 700"/>
              <a:gd name="T49" fmla="*/ 233 h 627"/>
              <a:gd name="T50" fmla="*/ 313 w 700"/>
              <a:gd name="T51" fmla="*/ 356 h 627"/>
              <a:gd name="T52" fmla="*/ 241 w 700"/>
              <a:gd name="T53" fmla="*/ 627 h 627"/>
              <a:gd name="T54" fmla="*/ 177 w 700"/>
              <a:gd name="T55" fmla="*/ 627 h 627"/>
              <a:gd name="T56" fmla="*/ 283 w 700"/>
              <a:gd name="T57" fmla="*/ 231 h 627"/>
              <a:gd name="T58" fmla="*/ 283 w 700"/>
              <a:gd name="T59" fmla="*/ 142 h 627"/>
              <a:gd name="T60" fmla="*/ 247 w 700"/>
              <a:gd name="T61" fmla="*/ 142 h 627"/>
              <a:gd name="T62" fmla="*/ 247 w 700"/>
              <a:gd name="T63" fmla="*/ 233 h 627"/>
              <a:gd name="T64" fmla="*/ 136 w 700"/>
              <a:gd name="T65" fmla="*/ 356 h 627"/>
              <a:gd name="T66" fmla="*/ 64 w 700"/>
              <a:gd name="T67" fmla="*/ 627 h 627"/>
              <a:gd name="T68" fmla="*/ 0 w 700"/>
              <a:gd name="T69" fmla="*/ 627 h 627"/>
              <a:gd name="T70" fmla="*/ 106 w 700"/>
              <a:gd name="T71" fmla="*/ 231 h 627"/>
              <a:gd name="T72" fmla="*/ 106 w 700"/>
              <a:gd name="T73" fmla="*/ 0 h 627"/>
              <a:gd name="T74" fmla="*/ 141 w 700"/>
              <a:gd name="T75" fmla="*/ 94 h 627"/>
              <a:gd name="T76" fmla="*/ 283 w 700"/>
              <a:gd name="T77" fmla="*/ 94 h 627"/>
              <a:gd name="T78" fmla="*/ 283 w 700"/>
              <a:gd name="T79" fmla="*/ 47 h 627"/>
              <a:gd name="T80" fmla="*/ 141 w 700"/>
              <a:gd name="T81" fmla="*/ 47 h 627"/>
              <a:gd name="T82" fmla="*/ 141 w 700"/>
              <a:gd name="T83" fmla="*/ 94 h 627"/>
              <a:gd name="T84" fmla="*/ 141 w 700"/>
              <a:gd name="T85" fmla="*/ 94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00" h="627">
                <a:moveTo>
                  <a:pt x="460" y="47"/>
                </a:moveTo>
                <a:lnTo>
                  <a:pt x="318" y="47"/>
                </a:lnTo>
                <a:lnTo>
                  <a:pt x="318" y="94"/>
                </a:lnTo>
                <a:lnTo>
                  <a:pt x="460" y="94"/>
                </a:lnTo>
                <a:lnTo>
                  <a:pt x="460" y="47"/>
                </a:lnTo>
                <a:close/>
                <a:moveTo>
                  <a:pt x="637" y="47"/>
                </a:moveTo>
                <a:lnTo>
                  <a:pt x="495" y="47"/>
                </a:lnTo>
                <a:lnTo>
                  <a:pt x="495" y="94"/>
                </a:lnTo>
                <a:lnTo>
                  <a:pt x="637" y="94"/>
                </a:lnTo>
                <a:lnTo>
                  <a:pt x="637" y="47"/>
                </a:lnTo>
                <a:close/>
                <a:moveTo>
                  <a:pt x="106" y="0"/>
                </a:moveTo>
                <a:lnTo>
                  <a:pt x="700" y="0"/>
                </a:lnTo>
                <a:lnTo>
                  <a:pt x="700" y="627"/>
                </a:lnTo>
                <a:lnTo>
                  <a:pt x="531" y="627"/>
                </a:lnTo>
                <a:lnTo>
                  <a:pt x="637" y="231"/>
                </a:lnTo>
                <a:lnTo>
                  <a:pt x="637" y="142"/>
                </a:lnTo>
                <a:lnTo>
                  <a:pt x="601" y="142"/>
                </a:lnTo>
                <a:lnTo>
                  <a:pt x="601" y="233"/>
                </a:lnTo>
                <a:cubicBezTo>
                  <a:pt x="523" y="240"/>
                  <a:pt x="511" y="277"/>
                  <a:pt x="490" y="356"/>
                </a:cubicBezTo>
                <a:lnTo>
                  <a:pt x="418" y="627"/>
                </a:lnTo>
                <a:lnTo>
                  <a:pt x="354" y="627"/>
                </a:lnTo>
                <a:lnTo>
                  <a:pt x="460" y="231"/>
                </a:lnTo>
                <a:lnTo>
                  <a:pt x="460" y="142"/>
                </a:lnTo>
                <a:lnTo>
                  <a:pt x="424" y="142"/>
                </a:lnTo>
                <a:lnTo>
                  <a:pt x="424" y="233"/>
                </a:lnTo>
                <a:cubicBezTo>
                  <a:pt x="346" y="240"/>
                  <a:pt x="334" y="277"/>
                  <a:pt x="313" y="356"/>
                </a:cubicBezTo>
                <a:lnTo>
                  <a:pt x="241" y="627"/>
                </a:lnTo>
                <a:lnTo>
                  <a:pt x="177" y="627"/>
                </a:lnTo>
                <a:lnTo>
                  <a:pt x="283" y="231"/>
                </a:lnTo>
                <a:lnTo>
                  <a:pt x="283" y="142"/>
                </a:lnTo>
                <a:lnTo>
                  <a:pt x="247" y="142"/>
                </a:lnTo>
                <a:lnTo>
                  <a:pt x="247" y="233"/>
                </a:lnTo>
                <a:cubicBezTo>
                  <a:pt x="169" y="240"/>
                  <a:pt x="157" y="277"/>
                  <a:pt x="136" y="356"/>
                </a:cubicBezTo>
                <a:lnTo>
                  <a:pt x="64" y="627"/>
                </a:lnTo>
                <a:lnTo>
                  <a:pt x="0" y="627"/>
                </a:lnTo>
                <a:lnTo>
                  <a:pt x="106" y="231"/>
                </a:lnTo>
                <a:lnTo>
                  <a:pt x="106" y="0"/>
                </a:lnTo>
                <a:close/>
                <a:moveTo>
                  <a:pt x="141" y="94"/>
                </a:moveTo>
                <a:lnTo>
                  <a:pt x="283" y="94"/>
                </a:lnTo>
                <a:lnTo>
                  <a:pt x="283" y="47"/>
                </a:lnTo>
                <a:lnTo>
                  <a:pt x="141" y="47"/>
                </a:lnTo>
                <a:lnTo>
                  <a:pt x="141" y="94"/>
                </a:lnTo>
                <a:lnTo>
                  <a:pt x="141" y="94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fr-FR" sz="10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9" name="CaixaDeTexto 118">
            <a:extLst>
              <a:ext uri="{FF2B5EF4-FFF2-40B4-BE49-F238E27FC236}">
                <a16:creationId xmlns:a16="http://schemas.microsoft.com/office/drawing/2014/main" id="{F087F3E7-46FC-4458-960B-62B1772C02FA}"/>
              </a:ext>
            </a:extLst>
          </p:cNvPr>
          <p:cNvSpPr txBox="1"/>
          <p:nvPr/>
        </p:nvSpPr>
        <p:spPr>
          <a:xfrm>
            <a:off x="1084582" y="3694206"/>
            <a:ext cx="680958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15" algn="ctr"/>
            <a:r>
              <a:rPr lang="pt-BR" sz="20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Conflitos decorrentes dessa configuração – expressos e/ou latentes</a:t>
            </a:r>
          </a:p>
        </p:txBody>
      </p:sp>
      <p:sp>
        <p:nvSpPr>
          <p:cNvPr id="121" name="Irrigation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D9A222A-81FB-4363-8079-37366FD947D1}"/>
              </a:ext>
            </a:extLst>
          </p:cNvPr>
          <p:cNvSpPr>
            <a:spLocks noChangeAspect="1" noEditPoints="1"/>
          </p:cNvSpPr>
          <p:nvPr>
            <p:custDataLst>
              <p:tags r:id="rId13"/>
            </p:custDataLst>
          </p:nvPr>
        </p:nvSpPr>
        <p:spPr bwMode="auto">
          <a:xfrm>
            <a:off x="647445" y="4112771"/>
            <a:ext cx="666827" cy="407194"/>
          </a:xfrm>
          <a:custGeom>
            <a:avLst/>
            <a:gdLst>
              <a:gd name="T0" fmla="*/ 358 w 744"/>
              <a:gd name="T1" fmla="*/ 335 h 454"/>
              <a:gd name="T2" fmla="*/ 339 w 744"/>
              <a:gd name="T3" fmla="*/ 126 h 454"/>
              <a:gd name="T4" fmla="*/ 299 w 744"/>
              <a:gd name="T5" fmla="*/ 43 h 454"/>
              <a:gd name="T6" fmla="*/ 187 w 744"/>
              <a:gd name="T7" fmla="*/ 4 h 454"/>
              <a:gd name="T8" fmla="*/ 118 w 744"/>
              <a:gd name="T9" fmla="*/ 67 h 454"/>
              <a:gd name="T10" fmla="*/ 85 w 744"/>
              <a:gd name="T11" fmla="*/ 142 h 454"/>
              <a:gd name="T12" fmla="*/ 85 w 744"/>
              <a:gd name="T13" fmla="*/ 142 h 454"/>
              <a:gd name="T14" fmla="*/ 84 w 744"/>
              <a:gd name="T15" fmla="*/ 184 h 454"/>
              <a:gd name="T16" fmla="*/ 65 w 744"/>
              <a:gd name="T17" fmla="*/ 256 h 454"/>
              <a:gd name="T18" fmla="*/ 53 w 744"/>
              <a:gd name="T19" fmla="*/ 347 h 454"/>
              <a:gd name="T20" fmla="*/ 309 w 744"/>
              <a:gd name="T21" fmla="*/ 102 h 454"/>
              <a:gd name="T22" fmla="*/ 221 w 744"/>
              <a:gd name="T23" fmla="*/ 78 h 454"/>
              <a:gd name="T24" fmla="*/ 167 w 744"/>
              <a:gd name="T25" fmla="*/ 123 h 454"/>
              <a:gd name="T26" fmla="*/ 167 w 744"/>
              <a:gd name="T27" fmla="*/ 123 h 454"/>
              <a:gd name="T28" fmla="*/ 147 w 744"/>
              <a:gd name="T29" fmla="*/ 165 h 454"/>
              <a:gd name="T30" fmla="*/ 126 w 744"/>
              <a:gd name="T31" fmla="*/ 236 h 454"/>
              <a:gd name="T32" fmla="*/ 339 w 744"/>
              <a:gd name="T33" fmla="*/ 181 h 454"/>
              <a:gd name="T34" fmla="*/ 368 w 744"/>
              <a:gd name="T35" fmla="*/ 196 h 454"/>
              <a:gd name="T36" fmla="*/ 349 w 744"/>
              <a:gd name="T37" fmla="*/ 224 h 454"/>
              <a:gd name="T38" fmla="*/ 315 w 744"/>
              <a:gd name="T39" fmla="*/ 160 h 454"/>
              <a:gd name="T40" fmla="*/ 226 w 744"/>
              <a:gd name="T41" fmla="*/ 139 h 454"/>
              <a:gd name="T42" fmla="*/ 165 w 744"/>
              <a:gd name="T43" fmla="*/ 241 h 454"/>
              <a:gd name="T44" fmla="*/ 425 w 744"/>
              <a:gd name="T45" fmla="*/ 81 h 454"/>
              <a:gd name="T46" fmla="*/ 480 w 744"/>
              <a:gd name="T47" fmla="*/ 34 h 454"/>
              <a:gd name="T48" fmla="*/ 480 w 744"/>
              <a:gd name="T49" fmla="*/ 34 h 454"/>
              <a:gd name="T50" fmla="*/ 522 w 744"/>
              <a:gd name="T51" fmla="*/ 18 h 454"/>
              <a:gd name="T52" fmla="*/ 591 w 744"/>
              <a:gd name="T53" fmla="*/ 30 h 454"/>
              <a:gd name="T54" fmla="*/ 640 w 744"/>
              <a:gd name="T55" fmla="*/ 96 h 454"/>
              <a:gd name="T56" fmla="*/ 681 w 744"/>
              <a:gd name="T57" fmla="*/ 214 h 454"/>
              <a:gd name="T58" fmla="*/ 681 w 744"/>
              <a:gd name="T59" fmla="*/ 306 h 454"/>
              <a:gd name="T60" fmla="*/ 673 w 744"/>
              <a:gd name="T61" fmla="*/ 366 h 454"/>
              <a:gd name="T62" fmla="*/ 673 w 744"/>
              <a:gd name="T63" fmla="*/ 366 h 454"/>
              <a:gd name="T64" fmla="*/ 426 w 744"/>
              <a:gd name="T65" fmla="*/ 138 h 454"/>
              <a:gd name="T66" fmla="*/ 473 w 744"/>
              <a:gd name="T67" fmla="*/ 84 h 454"/>
              <a:gd name="T68" fmla="*/ 565 w 744"/>
              <a:gd name="T69" fmla="*/ 88 h 454"/>
              <a:gd name="T70" fmla="*/ 620 w 744"/>
              <a:gd name="T71" fmla="*/ 193 h 454"/>
              <a:gd name="T72" fmla="*/ 619 w 744"/>
              <a:gd name="T73" fmla="*/ 286 h 454"/>
              <a:gd name="T74" fmla="*/ 408 w 744"/>
              <a:gd name="T75" fmla="*/ 195 h 454"/>
              <a:gd name="T76" fmla="*/ 398 w 744"/>
              <a:gd name="T77" fmla="*/ 167 h 454"/>
              <a:gd name="T78" fmla="*/ 379 w 744"/>
              <a:gd name="T79" fmla="*/ 215 h 454"/>
              <a:gd name="T80" fmla="*/ 473 w 744"/>
              <a:gd name="T81" fmla="*/ 140 h 454"/>
              <a:gd name="T82" fmla="*/ 534 w 744"/>
              <a:gd name="T83" fmla="*/ 171 h 454"/>
              <a:gd name="T84" fmla="*/ 534 w 744"/>
              <a:gd name="T85" fmla="*/ 171 h 454"/>
              <a:gd name="T86" fmla="*/ 554 w 744"/>
              <a:gd name="T87" fmla="*/ 212 h 454"/>
              <a:gd name="T88" fmla="*/ 357 w 744"/>
              <a:gd name="T89" fmla="*/ 247 h 454"/>
              <a:gd name="T90" fmla="*/ 385 w 744"/>
              <a:gd name="T91" fmla="*/ 259 h 454"/>
              <a:gd name="T92" fmla="*/ 363 w 744"/>
              <a:gd name="T93" fmla="*/ 298 h 454"/>
              <a:gd name="T94" fmla="*/ 90 w 744"/>
              <a:gd name="T95" fmla="*/ 276 h 454"/>
              <a:gd name="T96" fmla="*/ 189 w 744"/>
              <a:gd name="T97" fmla="*/ 321 h 454"/>
              <a:gd name="T98" fmla="*/ 133 w 744"/>
              <a:gd name="T99" fmla="*/ 341 h 454"/>
              <a:gd name="T100" fmla="*/ 558 w 744"/>
              <a:gd name="T101" fmla="*/ 294 h 454"/>
              <a:gd name="T102" fmla="*/ 611 w 744"/>
              <a:gd name="T103" fmla="*/ 328 h 454"/>
              <a:gd name="T104" fmla="*/ 654 w 744"/>
              <a:gd name="T105" fmla="*/ 321 h 454"/>
              <a:gd name="T106" fmla="*/ 334 w 744"/>
              <a:gd name="T107" fmla="*/ 335 h 454"/>
              <a:gd name="T108" fmla="*/ 727 w 744"/>
              <a:gd name="T109" fmla="*/ 418 h 454"/>
              <a:gd name="T110" fmla="*/ 20 w 744"/>
              <a:gd name="T111" fmla="*/ 451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744" h="454">
                <a:moveTo>
                  <a:pt x="358" y="399"/>
                </a:moveTo>
                <a:lnTo>
                  <a:pt x="386" y="399"/>
                </a:lnTo>
                <a:lnTo>
                  <a:pt x="386" y="335"/>
                </a:lnTo>
                <a:cubicBezTo>
                  <a:pt x="386" y="334"/>
                  <a:pt x="386" y="334"/>
                  <a:pt x="385" y="334"/>
                </a:cubicBezTo>
                <a:lnTo>
                  <a:pt x="359" y="334"/>
                </a:lnTo>
                <a:cubicBezTo>
                  <a:pt x="358" y="334"/>
                  <a:pt x="358" y="334"/>
                  <a:pt x="358" y="335"/>
                </a:cubicBezTo>
                <a:lnTo>
                  <a:pt x="358" y="399"/>
                </a:lnTo>
                <a:close/>
                <a:moveTo>
                  <a:pt x="314" y="92"/>
                </a:moveTo>
                <a:cubicBezTo>
                  <a:pt x="312" y="88"/>
                  <a:pt x="314" y="83"/>
                  <a:pt x="318" y="81"/>
                </a:cubicBezTo>
                <a:cubicBezTo>
                  <a:pt x="322" y="79"/>
                  <a:pt x="327" y="80"/>
                  <a:pt x="329" y="84"/>
                </a:cubicBezTo>
                <a:cubicBezTo>
                  <a:pt x="334" y="94"/>
                  <a:pt x="339" y="104"/>
                  <a:pt x="344" y="115"/>
                </a:cubicBezTo>
                <a:cubicBezTo>
                  <a:pt x="346" y="119"/>
                  <a:pt x="344" y="124"/>
                  <a:pt x="339" y="126"/>
                </a:cubicBezTo>
                <a:cubicBezTo>
                  <a:pt x="335" y="127"/>
                  <a:pt x="330" y="125"/>
                  <a:pt x="329" y="121"/>
                </a:cubicBezTo>
                <a:cubicBezTo>
                  <a:pt x="324" y="111"/>
                  <a:pt x="320" y="102"/>
                  <a:pt x="314" y="92"/>
                </a:cubicBezTo>
                <a:close/>
                <a:moveTo>
                  <a:pt x="263" y="34"/>
                </a:moveTo>
                <a:cubicBezTo>
                  <a:pt x="259" y="31"/>
                  <a:pt x="258" y="26"/>
                  <a:pt x="261" y="22"/>
                </a:cubicBezTo>
                <a:cubicBezTo>
                  <a:pt x="263" y="18"/>
                  <a:pt x="268" y="17"/>
                  <a:pt x="272" y="20"/>
                </a:cubicBezTo>
                <a:cubicBezTo>
                  <a:pt x="282" y="27"/>
                  <a:pt x="290" y="34"/>
                  <a:pt x="299" y="43"/>
                </a:cubicBezTo>
                <a:cubicBezTo>
                  <a:pt x="302" y="46"/>
                  <a:pt x="301" y="51"/>
                  <a:pt x="298" y="54"/>
                </a:cubicBezTo>
                <a:cubicBezTo>
                  <a:pt x="295" y="57"/>
                  <a:pt x="290" y="57"/>
                  <a:pt x="286" y="54"/>
                </a:cubicBezTo>
                <a:cubicBezTo>
                  <a:pt x="279" y="46"/>
                  <a:pt x="272" y="40"/>
                  <a:pt x="263" y="34"/>
                </a:cubicBezTo>
                <a:close/>
                <a:moveTo>
                  <a:pt x="190" y="20"/>
                </a:moveTo>
                <a:cubicBezTo>
                  <a:pt x="186" y="22"/>
                  <a:pt x="182" y="19"/>
                  <a:pt x="180" y="14"/>
                </a:cubicBezTo>
                <a:cubicBezTo>
                  <a:pt x="179" y="10"/>
                  <a:pt x="182" y="5"/>
                  <a:pt x="187" y="4"/>
                </a:cubicBezTo>
                <a:cubicBezTo>
                  <a:pt x="199" y="2"/>
                  <a:pt x="209" y="0"/>
                  <a:pt x="222" y="2"/>
                </a:cubicBezTo>
                <a:cubicBezTo>
                  <a:pt x="227" y="2"/>
                  <a:pt x="230" y="6"/>
                  <a:pt x="230" y="11"/>
                </a:cubicBezTo>
                <a:cubicBezTo>
                  <a:pt x="229" y="15"/>
                  <a:pt x="225" y="19"/>
                  <a:pt x="221" y="18"/>
                </a:cubicBezTo>
                <a:cubicBezTo>
                  <a:pt x="209" y="18"/>
                  <a:pt x="202" y="18"/>
                  <a:pt x="190" y="20"/>
                </a:cubicBezTo>
                <a:close/>
                <a:moveTo>
                  <a:pt x="130" y="65"/>
                </a:moveTo>
                <a:cubicBezTo>
                  <a:pt x="127" y="69"/>
                  <a:pt x="122" y="70"/>
                  <a:pt x="118" y="67"/>
                </a:cubicBezTo>
                <a:cubicBezTo>
                  <a:pt x="115" y="64"/>
                  <a:pt x="114" y="59"/>
                  <a:pt x="116" y="55"/>
                </a:cubicBezTo>
                <a:cubicBezTo>
                  <a:pt x="123" y="46"/>
                  <a:pt x="131" y="37"/>
                  <a:pt x="140" y="29"/>
                </a:cubicBezTo>
                <a:cubicBezTo>
                  <a:pt x="143" y="26"/>
                  <a:pt x="148" y="27"/>
                  <a:pt x="151" y="30"/>
                </a:cubicBezTo>
                <a:cubicBezTo>
                  <a:pt x="154" y="34"/>
                  <a:pt x="154" y="39"/>
                  <a:pt x="151" y="42"/>
                </a:cubicBezTo>
                <a:cubicBezTo>
                  <a:pt x="143" y="49"/>
                  <a:pt x="136" y="57"/>
                  <a:pt x="130" y="65"/>
                </a:cubicBezTo>
                <a:close/>
                <a:moveTo>
                  <a:pt x="85" y="142"/>
                </a:moveTo>
                <a:cubicBezTo>
                  <a:pt x="81" y="141"/>
                  <a:pt x="79" y="136"/>
                  <a:pt x="80" y="132"/>
                </a:cubicBezTo>
                <a:cubicBezTo>
                  <a:pt x="83" y="121"/>
                  <a:pt x="87" y="111"/>
                  <a:pt x="92" y="100"/>
                </a:cubicBezTo>
                <a:cubicBezTo>
                  <a:pt x="94" y="96"/>
                  <a:pt x="98" y="94"/>
                  <a:pt x="103" y="96"/>
                </a:cubicBezTo>
                <a:cubicBezTo>
                  <a:pt x="107" y="98"/>
                  <a:pt x="109" y="103"/>
                  <a:pt x="107" y="107"/>
                </a:cubicBezTo>
                <a:cubicBezTo>
                  <a:pt x="103" y="116"/>
                  <a:pt x="99" y="127"/>
                  <a:pt x="96" y="137"/>
                </a:cubicBezTo>
                <a:cubicBezTo>
                  <a:pt x="95" y="141"/>
                  <a:pt x="90" y="144"/>
                  <a:pt x="85" y="142"/>
                </a:cubicBezTo>
                <a:close/>
                <a:moveTo>
                  <a:pt x="78" y="216"/>
                </a:moveTo>
                <a:cubicBezTo>
                  <a:pt x="77" y="221"/>
                  <a:pt x="73" y="224"/>
                  <a:pt x="68" y="223"/>
                </a:cubicBezTo>
                <a:cubicBezTo>
                  <a:pt x="64" y="223"/>
                  <a:pt x="61" y="218"/>
                  <a:pt x="62" y="214"/>
                </a:cubicBezTo>
                <a:cubicBezTo>
                  <a:pt x="63" y="203"/>
                  <a:pt x="65" y="192"/>
                  <a:pt x="67" y="181"/>
                </a:cubicBezTo>
                <a:cubicBezTo>
                  <a:pt x="68" y="176"/>
                  <a:pt x="73" y="174"/>
                  <a:pt x="77" y="174"/>
                </a:cubicBezTo>
                <a:cubicBezTo>
                  <a:pt x="82" y="175"/>
                  <a:pt x="85" y="180"/>
                  <a:pt x="84" y="184"/>
                </a:cubicBezTo>
                <a:cubicBezTo>
                  <a:pt x="81" y="195"/>
                  <a:pt x="79" y="206"/>
                  <a:pt x="78" y="216"/>
                </a:cubicBezTo>
                <a:close/>
                <a:moveTo>
                  <a:pt x="70" y="298"/>
                </a:moveTo>
                <a:cubicBezTo>
                  <a:pt x="70" y="302"/>
                  <a:pt x="66" y="306"/>
                  <a:pt x="61" y="306"/>
                </a:cubicBezTo>
                <a:cubicBezTo>
                  <a:pt x="57" y="305"/>
                  <a:pt x="53" y="302"/>
                  <a:pt x="53" y="297"/>
                </a:cubicBezTo>
                <a:cubicBezTo>
                  <a:pt x="54" y="286"/>
                  <a:pt x="55" y="275"/>
                  <a:pt x="56" y="264"/>
                </a:cubicBezTo>
                <a:cubicBezTo>
                  <a:pt x="56" y="259"/>
                  <a:pt x="60" y="256"/>
                  <a:pt x="65" y="256"/>
                </a:cubicBezTo>
                <a:cubicBezTo>
                  <a:pt x="69" y="257"/>
                  <a:pt x="72" y="261"/>
                  <a:pt x="72" y="265"/>
                </a:cubicBezTo>
                <a:cubicBezTo>
                  <a:pt x="71" y="276"/>
                  <a:pt x="70" y="287"/>
                  <a:pt x="70" y="298"/>
                </a:cubicBezTo>
                <a:close/>
                <a:moveTo>
                  <a:pt x="70" y="366"/>
                </a:moveTo>
                <a:cubicBezTo>
                  <a:pt x="70" y="370"/>
                  <a:pt x="66" y="374"/>
                  <a:pt x="61" y="374"/>
                </a:cubicBezTo>
                <a:cubicBezTo>
                  <a:pt x="57" y="374"/>
                  <a:pt x="53" y="370"/>
                  <a:pt x="53" y="366"/>
                </a:cubicBezTo>
                <a:cubicBezTo>
                  <a:pt x="53" y="359"/>
                  <a:pt x="53" y="353"/>
                  <a:pt x="53" y="347"/>
                </a:cubicBezTo>
                <a:cubicBezTo>
                  <a:pt x="53" y="342"/>
                  <a:pt x="57" y="339"/>
                  <a:pt x="61" y="339"/>
                </a:cubicBezTo>
                <a:cubicBezTo>
                  <a:pt x="66" y="339"/>
                  <a:pt x="69" y="342"/>
                  <a:pt x="69" y="347"/>
                </a:cubicBezTo>
                <a:cubicBezTo>
                  <a:pt x="69" y="353"/>
                  <a:pt x="70" y="359"/>
                  <a:pt x="70" y="366"/>
                </a:cubicBezTo>
                <a:close/>
                <a:moveTo>
                  <a:pt x="297" y="114"/>
                </a:moveTo>
                <a:cubicBezTo>
                  <a:pt x="294" y="111"/>
                  <a:pt x="294" y="106"/>
                  <a:pt x="297" y="102"/>
                </a:cubicBezTo>
                <a:cubicBezTo>
                  <a:pt x="300" y="99"/>
                  <a:pt x="305" y="99"/>
                  <a:pt x="309" y="102"/>
                </a:cubicBezTo>
                <a:cubicBezTo>
                  <a:pt x="317" y="111"/>
                  <a:pt x="324" y="120"/>
                  <a:pt x="330" y="129"/>
                </a:cubicBezTo>
                <a:cubicBezTo>
                  <a:pt x="333" y="133"/>
                  <a:pt x="332" y="138"/>
                  <a:pt x="328" y="141"/>
                </a:cubicBezTo>
                <a:cubicBezTo>
                  <a:pt x="324" y="143"/>
                  <a:pt x="319" y="142"/>
                  <a:pt x="317" y="138"/>
                </a:cubicBezTo>
                <a:cubicBezTo>
                  <a:pt x="311" y="130"/>
                  <a:pt x="304" y="122"/>
                  <a:pt x="297" y="114"/>
                </a:cubicBezTo>
                <a:close/>
                <a:moveTo>
                  <a:pt x="229" y="86"/>
                </a:moveTo>
                <a:cubicBezTo>
                  <a:pt x="225" y="86"/>
                  <a:pt x="221" y="83"/>
                  <a:pt x="221" y="78"/>
                </a:cubicBezTo>
                <a:cubicBezTo>
                  <a:pt x="220" y="74"/>
                  <a:pt x="224" y="70"/>
                  <a:pt x="228" y="70"/>
                </a:cubicBezTo>
                <a:cubicBezTo>
                  <a:pt x="241" y="69"/>
                  <a:pt x="252" y="70"/>
                  <a:pt x="264" y="73"/>
                </a:cubicBezTo>
                <a:cubicBezTo>
                  <a:pt x="268" y="75"/>
                  <a:pt x="271" y="79"/>
                  <a:pt x="269" y="84"/>
                </a:cubicBezTo>
                <a:cubicBezTo>
                  <a:pt x="268" y="88"/>
                  <a:pt x="263" y="91"/>
                  <a:pt x="259" y="89"/>
                </a:cubicBezTo>
                <a:cubicBezTo>
                  <a:pt x="249" y="86"/>
                  <a:pt x="239" y="85"/>
                  <a:pt x="229" y="86"/>
                </a:cubicBezTo>
                <a:close/>
                <a:moveTo>
                  <a:pt x="167" y="123"/>
                </a:moveTo>
                <a:cubicBezTo>
                  <a:pt x="164" y="127"/>
                  <a:pt x="159" y="127"/>
                  <a:pt x="155" y="125"/>
                </a:cubicBezTo>
                <a:cubicBezTo>
                  <a:pt x="151" y="122"/>
                  <a:pt x="151" y="117"/>
                  <a:pt x="153" y="113"/>
                </a:cubicBezTo>
                <a:cubicBezTo>
                  <a:pt x="160" y="104"/>
                  <a:pt x="168" y="95"/>
                  <a:pt x="178" y="88"/>
                </a:cubicBezTo>
                <a:cubicBezTo>
                  <a:pt x="181" y="85"/>
                  <a:pt x="187" y="86"/>
                  <a:pt x="189" y="90"/>
                </a:cubicBezTo>
                <a:cubicBezTo>
                  <a:pt x="192" y="93"/>
                  <a:pt x="191" y="98"/>
                  <a:pt x="188" y="101"/>
                </a:cubicBezTo>
                <a:cubicBezTo>
                  <a:pt x="180" y="107"/>
                  <a:pt x="172" y="115"/>
                  <a:pt x="167" y="123"/>
                </a:cubicBezTo>
                <a:close/>
                <a:moveTo>
                  <a:pt x="139" y="196"/>
                </a:moveTo>
                <a:cubicBezTo>
                  <a:pt x="138" y="201"/>
                  <a:pt x="134" y="204"/>
                  <a:pt x="130" y="203"/>
                </a:cubicBezTo>
                <a:cubicBezTo>
                  <a:pt x="125" y="202"/>
                  <a:pt x="122" y="198"/>
                  <a:pt x="123" y="193"/>
                </a:cubicBezTo>
                <a:cubicBezTo>
                  <a:pt x="125" y="182"/>
                  <a:pt x="127" y="171"/>
                  <a:pt x="131" y="161"/>
                </a:cubicBezTo>
                <a:cubicBezTo>
                  <a:pt x="132" y="156"/>
                  <a:pt x="137" y="153"/>
                  <a:pt x="141" y="155"/>
                </a:cubicBezTo>
                <a:cubicBezTo>
                  <a:pt x="146" y="156"/>
                  <a:pt x="148" y="161"/>
                  <a:pt x="147" y="165"/>
                </a:cubicBezTo>
                <a:cubicBezTo>
                  <a:pt x="143" y="175"/>
                  <a:pt x="141" y="186"/>
                  <a:pt x="139" y="196"/>
                </a:cubicBezTo>
                <a:close/>
                <a:moveTo>
                  <a:pt x="134" y="259"/>
                </a:moveTo>
                <a:cubicBezTo>
                  <a:pt x="134" y="264"/>
                  <a:pt x="130" y="267"/>
                  <a:pt x="126" y="267"/>
                </a:cubicBezTo>
                <a:cubicBezTo>
                  <a:pt x="121" y="267"/>
                  <a:pt x="117" y="264"/>
                  <a:pt x="117" y="259"/>
                </a:cubicBezTo>
                <a:cubicBezTo>
                  <a:pt x="117" y="254"/>
                  <a:pt x="118" y="249"/>
                  <a:pt x="118" y="244"/>
                </a:cubicBezTo>
                <a:cubicBezTo>
                  <a:pt x="118" y="239"/>
                  <a:pt x="122" y="236"/>
                  <a:pt x="126" y="236"/>
                </a:cubicBezTo>
                <a:cubicBezTo>
                  <a:pt x="131" y="236"/>
                  <a:pt x="134" y="240"/>
                  <a:pt x="134" y="244"/>
                </a:cubicBezTo>
                <a:cubicBezTo>
                  <a:pt x="134" y="249"/>
                  <a:pt x="134" y="254"/>
                  <a:pt x="134" y="259"/>
                </a:cubicBezTo>
                <a:close/>
                <a:moveTo>
                  <a:pt x="335" y="195"/>
                </a:moveTo>
                <a:cubicBezTo>
                  <a:pt x="332" y="192"/>
                  <a:pt x="333" y="187"/>
                  <a:pt x="337" y="184"/>
                </a:cubicBezTo>
                <a:cubicBezTo>
                  <a:pt x="338" y="184"/>
                  <a:pt x="339" y="183"/>
                  <a:pt x="340" y="183"/>
                </a:cubicBezTo>
                <a:lnTo>
                  <a:pt x="339" y="181"/>
                </a:lnTo>
                <a:cubicBezTo>
                  <a:pt x="337" y="177"/>
                  <a:pt x="339" y="172"/>
                  <a:pt x="344" y="170"/>
                </a:cubicBezTo>
                <a:cubicBezTo>
                  <a:pt x="344" y="170"/>
                  <a:pt x="345" y="170"/>
                  <a:pt x="345" y="170"/>
                </a:cubicBezTo>
                <a:lnTo>
                  <a:pt x="344" y="167"/>
                </a:lnTo>
                <a:cubicBezTo>
                  <a:pt x="343" y="163"/>
                  <a:pt x="346" y="158"/>
                  <a:pt x="350" y="157"/>
                </a:cubicBezTo>
                <a:cubicBezTo>
                  <a:pt x="355" y="156"/>
                  <a:pt x="359" y="158"/>
                  <a:pt x="360" y="163"/>
                </a:cubicBezTo>
                <a:cubicBezTo>
                  <a:pt x="363" y="174"/>
                  <a:pt x="366" y="184"/>
                  <a:pt x="368" y="196"/>
                </a:cubicBezTo>
                <a:cubicBezTo>
                  <a:pt x="368" y="199"/>
                  <a:pt x="367" y="202"/>
                  <a:pt x="364" y="204"/>
                </a:cubicBezTo>
                <a:lnTo>
                  <a:pt x="365" y="207"/>
                </a:lnTo>
                <a:cubicBezTo>
                  <a:pt x="366" y="210"/>
                  <a:pt x="365" y="213"/>
                  <a:pt x="363" y="215"/>
                </a:cubicBezTo>
                <a:lnTo>
                  <a:pt x="364" y="217"/>
                </a:lnTo>
                <a:cubicBezTo>
                  <a:pt x="366" y="222"/>
                  <a:pt x="364" y="226"/>
                  <a:pt x="360" y="228"/>
                </a:cubicBezTo>
                <a:cubicBezTo>
                  <a:pt x="355" y="230"/>
                  <a:pt x="351" y="228"/>
                  <a:pt x="349" y="224"/>
                </a:cubicBezTo>
                <a:cubicBezTo>
                  <a:pt x="345" y="214"/>
                  <a:pt x="340" y="204"/>
                  <a:pt x="335" y="195"/>
                </a:cubicBezTo>
                <a:close/>
                <a:moveTo>
                  <a:pt x="276" y="150"/>
                </a:moveTo>
                <a:cubicBezTo>
                  <a:pt x="272" y="149"/>
                  <a:pt x="269" y="145"/>
                  <a:pt x="270" y="140"/>
                </a:cubicBezTo>
                <a:cubicBezTo>
                  <a:pt x="271" y="136"/>
                  <a:pt x="275" y="133"/>
                  <a:pt x="279" y="134"/>
                </a:cubicBezTo>
                <a:cubicBezTo>
                  <a:pt x="291" y="136"/>
                  <a:pt x="302" y="141"/>
                  <a:pt x="312" y="148"/>
                </a:cubicBezTo>
                <a:cubicBezTo>
                  <a:pt x="316" y="151"/>
                  <a:pt x="317" y="156"/>
                  <a:pt x="315" y="160"/>
                </a:cubicBezTo>
                <a:cubicBezTo>
                  <a:pt x="312" y="164"/>
                  <a:pt x="307" y="165"/>
                  <a:pt x="303" y="162"/>
                </a:cubicBezTo>
                <a:cubicBezTo>
                  <a:pt x="295" y="156"/>
                  <a:pt x="286" y="152"/>
                  <a:pt x="276" y="150"/>
                </a:cubicBezTo>
                <a:close/>
                <a:moveTo>
                  <a:pt x="209" y="171"/>
                </a:moveTo>
                <a:cubicBezTo>
                  <a:pt x="206" y="175"/>
                  <a:pt x="200" y="175"/>
                  <a:pt x="197" y="172"/>
                </a:cubicBezTo>
                <a:cubicBezTo>
                  <a:pt x="193" y="169"/>
                  <a:pt x="193" y="164"/>
                  <a:pt x="196" y="161"/>
                </a:cubicBezTo>
                <a:cubicBezTo>
                  <a:pt x="205" y="151"/>
                  <a:pt x="214" y="144"/>
                  <a:pt x="226" y="139"/>
                </a:cubicBezTo>
                <a:cubicBezTo>
                  <a:pt x="230" y="138"/>
                  <a:pt x="235" y="140"/>
                  <a:pt x="237" y="144"/>
                </a:cubicBezTo>
                <a:cubicBezTo>
                  <a:pt x="238" y="148"/>
                  <a:pt x="236" y="153"/>
                  <a:pt x="232" y="155"/>
                </a:cubicBezTo>
                <a:cubicBezTo>
                  <a:pt x="232" y="155"/>
                  <a:pt x="214" y="166"/>
                  <a:pt x="209" y="171"/>
                </a:cubicBezTo>
                <a:close/>
                <a:moveTo>
                  <a:pt x="182" y="244"/>
                </a:moveTo>
                <a:cubicBezTo>
                  <a:pt x="181" y="248"/>
                  <a:pt x="177" y="251"/>
                  <a:pt x="172" y="251"/>
                </a:cubicBezTo>
                <a:cubicBezTo>
                  <a:pt x="168" y="250"/>
                  <a:pt x="165" y="246"/>
                  <a:pt x="165" y="241"/>
                </a:cubicBezTo>
                <a:cubicBezTo>
                  <a:pt x="167" y="230"/>
                  <a:pt x="169" y="219"/>
                  <a:pt x="172" y="208"/>
                </a:cubicBezTo>
                <a:cubicBezTo>
                  <a:pt x="174" y="203"/>
                  <a:pt x="178" y="201"/>
                  <a:pt x="183" y="202"/>
                </a:cubicBezTo>
                <a:cubicBezTo>
                  <a:pt x="187" y="203"/>
                  <a:pt x="189" y="208"/>
                  <a:pt x="188" y="212"/>
                </a:cubicBezTo>
                <a:cubicBezTo>
                  <a:pt x="185" y="222"/>
                  <a:pt x="183" y="233"/>
                  <a:pt x="182" y="244"/>
                </a:cubicBezTo>
                <a:close/>
                <a:moveTo>
                  <a:pt x="428" y="92"/>
                </a:moveTo>
                <a:cubicBezTo>
                  <a:pt x="430" y="88"/>
                  <a:pt x="429" y="83"/>
                  <a:pt x="425" y="81"/>
                </a:cubicBezTo>
                <a:cubicBezTo>
                  <a:pt x="421" y="79"/>
                  <a:pt x="416" y="80"/>
                  <a:pt x="414" y="84"/>
                </a:cubicBezTo>
                <a:cubicBezTo>
                  <a:pt x="408" y="94"/>
                  <a:pt x="403" y="104"/>
                  <a:pt x="399" y="115"/>
                </a:cubicBezTo>
                <a:cubicBezTo>
                  <a:pt x="397" y="119"/>
                  <a:pt x="399" y="124"/>
                  <a:pt x="403" y="126"/>
                </a:cubicBezTo>
                <a:cubicBezTo>
                  <a:pt x="407" y="127"/>
                  <a:pt x="412" y="125"/>
                  <a:pt x="414" y="121"/>
                </a:cubicBezTo>
                <a:cubicBezTo>
                  <a:pt x="418" y="111"/>
                  <a:pt x="423" y="102"/>
                  <a:pt x="428" y="92"/>
                </a:cubicBezTo>
                <a:close/>
                <a:moveTo>
                  <a:pt x="480" y="34"/>
                </a:moveTo>
                <a:cubicBezTo>
                  <a:pt x="484" y="31"/>
                  <a:pt x="485" y="26"/>
                  <a:pt x="482" y="22"/>
                </a:cubicBezTo>
                <a:cubicBezTo>
                  <a:pt x="480" y="18"/>
                  <a:pt x="474" y="17"/>
                  <a:pt x="471" y="20"/>
                </a:cubicBezTo>
                <a:cubicBezTo>
                  <a:pt x="461" y="27"/>
                  <a:pt x="452" y="34"/>
                  <a:pt x="444" y="43"/>
                </a:cubicBezTo>
                <a:cubicBezTo>
                  <a:pt x="441" y="46"/>
                  <a:pt x="441" y="51"/>
                  <a:pt x="444" y="54"/>
                </a:cubicBezTo>
                <a:cubicBezTo>
                  <a:pt x="448" y="57"/>
                  <a:pt x="453" y="57"/>
                  <a:pt x="456" y="54"/>
                </a:cubicBezTo>
                <a:cubicBezTo>
                  <a:pt x="463" y="46"/>
                  <a:pt x="471" y="40"/>
                  <a:pt x="480" y="34"/>
                </a:cubicBezTo>
                <a:close/>
                <a:moveTo>
                  <a:pt x="552" y="20"/>
                </a:moveTo>
                <a:cubicBezTo>
                  <a:pt x="557" y="22"/>
                  <a:pt x="561" y="19"/>
                  <a:pt x="562" y="14"/>
                </a:cubicBezTo>
                <a:cubicBezTo>
                  <a:pt x="563" y="10"/>
                  <a:pt x="560" y="5"/>
                  <a:pt x="556" y="4"/>
                </a:cubicBezTo>
                <a:cubicBezTo>
                  <a:pt x="543" y="2"/>
                  <a:pt x="534" y="0"/>
                  <a:pt x="521" y="2"/>
                </a:cubicBezTo>
                <a:cubicBezTo>
                  <a:pt x="516" y="2"/>
                  <a:pt x="513" y="6"/>
                  <a:pt x="513" y="11"/>
                </a:cubicBezTo>
                <a:cubicBezTo>
                  <a:pt x="513" y="15"/>
                  <a:pt x="518" y="19"/>
                  <a:pt x="522" y="18"/>
                </a:cubicBezTo>
                <a:cubicBezTo>
                  <a:pt x="534" y="18"/>
                  <a:pt x="540" y="18"/>
                  <a:pt x="552" y="20"/>
                </a:cubicBezTo>
                <a:close/>
                <a:moveTo>
                  <a:pt x="613" y="65"/>
                </a:moveTo>
                <a:cubicBezTo>
                  <a:pt x="615" y="69"/>
                  <a:pt x="621" y="70"/>
                  <a:pt x="624" y="67"/>
                </a:cubicBezTo>
                <a:cubicBezTo>
                  <a:pt x="628" y="64"/>
                  <a:pt x="629" y="59"/>
                  <a:pt x="626" y="55"/>
                </a:cubicBezTo>
                <a:cubicBezTo>
                  <a:pt x="619" y="46"/>
                  <a:pt x="612" y="37"/>
                  <a:pt x="603" y="29"/>
                </a:cubicBezTo>
                <a:cubicBezTo>
                  <a:pt x="600" y="26"/>
                  <a:pt x="594" y="27"/>
                  <a:pt x="591" y="30"/>
                </a:cubicBezTo>
                <a:cubicBezTo>
                  <a:pt x="588" y="34"/>
                  <a:pt x="589" y="39"/>
                  <a:pt x="592" y="42"/>
                </a:cubicBezTo>
                <a:cubicBezTo>
                  <a:pt x="600" y="49"/>
                  <a:pt x="607" y="57"/>
                  <a:pt x="613" y="65"/>
                </a:cubicBezTo>
                <a:close/>
                <a:moveTo>
                  <a:pt x="657" y="142"/>
                </a:moveTo>
                <a:cubicBezTo>
                  <a:pt x="662" y="141"/>
                  <a:pt x="664" y="136"/>
                  <a:pt x="663" y="132"/>
                </a:cubicBezTo>
                <a:cubicBezTo>
                  <a:pt x="659" y="121"/>
                  <a:pt x="655" y="111"/>
                  <a:pt x="651" y="100"/>
                </a:cubicBezTo>
                <a:cubicBezTo>
                  <a:pt x="649" y="96"/>
                  <a:pt x="644" y="94"/>
                  <a:pt x="640" y="96"/>
                </a:cubicBezTo>
                <a:cubicBezTo>
                  <a:pt x="636" y="98"/>
                  <a:pt x="634" y="103"/>
                  <a:pt x="636" y="107"/>
                </a:cubicBezTo>
                <a:cubicBezTo>
                  <a:pt x="640" y="116"/>
                  <a:pt x="643" y="127"/>
                  <a:pt x="647" y="137"/>
                </a:cubicBezTo>
                <a:cubicBezTo>
                  <a:pt x="648" y="141"/>
                  <a:pt x="652" y="144"/>
                  <a:pt x="657" y="142"/>
                </a:cubicBezTo>
                <a:close/>
                <a:moveTo>
                  <a:pt x="665" y="216"/>
                </a:moveTo>
                <a:cubicBezTo>
                  <a:pt x="665" y="221"/>
                  <a:pt x="670" y="224"/>
                  <a:pt x="674" y="223"/>
                </a:cubicBezTo>
                <a:cubicBezTo>
                  <a:pt x="679" y="223"/>
                  <a:pt x="682" y="218"/>
                  <a:pt x="681" y="214"/>
                </a:cubicBezTo>
                <a:cubicBezTo>
                  <a:pt x="679" y="203"/>
                  <a:pt x="677" y="192"/>
                  <a:pt x="675" y="181"/>
                </a:cubicBezTo>
                <a:cubicBezTo>
                  <a:pt x="674" y="176"/>
                  <a:pt x="670" y="174"/>
                  <a:pt x="665" y="174"/>
                </a:cubicBezTo>
                <a:cubicBezTo>
                  <a:pt x="661" y="175"/>
                  <a:pt x="658" y="180"/>
                  <a:pt x="659" y="184"/>
                </a:cubicBezTo>
                <a:cubicBezTo>
                  <a:pt x="661" y="195"/>
                  <a:pt x="663" y="206"/>
                  <a:pt x="665" y="216"/>
                </a:cubicBezTo>
                <a:close/>
                <a:moveTo>
                  <a:pt x="673" y="298"/>
                </a:moveTo>
                <a:cubicBezTo>
                  <a:pt x="673" y="302"/>
                  <a:pt x="677" y="306"/>
                  <a:pt x="681" y="306"/>
                </a:cubicBezTo>
                <a:cubicBezTo>
                  <a:pt x="686" y="305"/>
                  <a:pt x="690" y="302"/>
                  <a:pt x="689" y="297"/>
                </a:cubicBezTo>
                <a:cubicBezTo>
                  <a:pt x="689" y="286"/>
                  <a:pt x="688" y="275"/>
                  <a:pt x="687" y="264"/>
                </a:cubicBezTo>
                <a:cubicBezTo>
                  <a:pt x="687" y="259"/>
                  <a:pt x="683" y="256"/>
                  <a:pt x="678" y="256"/>
                </a:cubicBezTo>
                <a:cubicBezTo>
                  <a:pt x="674" y="257"/>
                  <a:pt x="670" y="261"/>
                  <a:pt x="671" y="265"/>
                </a:cubicBezTo>
                <a:cubicBezTo>
                  <a:pt x="672" y="276"/>
                  <a:pt x="672" y="287"/>
                  <a:pt x="673" y="298"/>
                </a:cubicBezTo>
                <a:close/>
                <a:moveTo>
                  <a:pt x="673" y="366"/>
                </a:moveTo>
                <a:cubicBezTo>
                  <a:pt x="673" y="370"/>
                  <a:pt x="677" y="374"/>
                  <a:pt x="681" y="374"/>
                </a:cubicBezTo>
                <a:cubicBezTo>
                  <a:pt x="686" y="374"/>
                  <a:pt x="690" y="370"/>
                  <a:pt x="690" y="366"/>
                </a:cubicBezTo>
                <a:cubicBezTo>
                  <a:pt x="690" y="359"/>
                  <a:pt x="690" y="353"/>
                  <a:pt x="690" y="347"/>
                </a:cubicBezTo>
                <a:cubicBezTo>
                  <a:pt x="690" y="342"/>
                  <a:pt x="686" y="339"/>
                  <a:pt x="681" y="339"/>
                </a:cubicBezTo>
                <a:cubicBezTo>
                  <a:pt x="677" y="339"/>
                  <a:pt x="673" y="342"/>
                  <a:pt x="673" y="347"/>
                </a:cubicBezTo>
                <a:cubicBezTo>
                  <a:pt x="673" y="353"/>
                  <a:pt x="673" y="359"/>
                  <a:pt x="673" y="366"/>
                </a:cubicBezTo>
                <a:close/>
                <a:moveTo>
                  <a:pt x="446" y="114"/>
                </a:moveTo>
                <a:cubicBezTo>
                  <a:pt x="449" y="111"/>
                  <a:pt x="449" y="106"/>
                  <a:pt x="446" y="102"/>
                </a:cubicBezTo>
                <a:cubicBezTo>
                  <a:pt x="443" y="99"/>
                  <a:pt x="437" y="99"/>
                  <a:pt x="434" y="102"/>
                </a:cubicBezTo>
                <a:cubicBezTo>
                  <a:pt x="426" y="111"/>
                  <a:pt x="419" y="120"/>
                  <a:pt x="412" y="129"/>
                </a:cubicBezTo>
                <a:cubicBezTo>
                  <a:pt x="410" y="133"/>
                  <a:pt x="411" y="138"/>
                  <a:pt x="414" y="141"/>
                </a:cubicBezTo>
                <a:cubicBezTo>
                  <a:pt x="418" y="143"/>
                  <a:pt x="423" y="142"/>
                  <a:pt x="426" y="138"/>
                </a:cubicBezTo>
                <a:cubicBezTo>
                  <a:pt x="432" y="130"/>
                  <a:pt x="438" y="122"/>
                  <a:pt x="446" y="114"/>
                </a:cubicBezTo>
                <a:close/>
                <a:moveTo>
                  <a:pt x="513" y="86"/>
                </a:moveTo>
                <a:cubicBezTo>
                  <a:pt x="518" y="86"/>
                  <a:pt x="522" y="83"/>
                  <a:pt x="522" y="78"/>
                </a:cubicBezTo>
                <a:cubicBezTo>
                  <a:pt x="522" y="74"/>
                  <a:pt x="519" y="70"/>
                  <a:pt x="514" y="70"/>
                </a:cubicBezTo>
                <a:cubicBezTo>
                  <a:pt x="502" y="69"/>
                  <a:pt x="491" y="70"/>
                  <a:pt x="479" y="73"/>
                </a:cubicBezTo>
                <a:cubicBezTo>
                  <a:pt x="474" y="75"/>
                  <a:pt x="472" y="79"/>
                  <a:pt x="473" y="84"/>
                </a:cubicBezTo>
                <a:cubicBezTo>
                  <a:pt x="475" y="88"/>
                  <a:pt x="480" y="91"/>
                  <a:pt x="484" y="89"/>
                </a:cubicBezTo>
                <a:cubicBezTo>
                  <a:pt x="493" y="86"/>
                  <a:pt x="503" y="85"/>
                  <a:pt x="513" y="86"/>
                </a:cubicBezTo>
                <a:close/>
                <a:moveTo>
                  <a:pt x="576" y="123"/>
                </a:moveTo>
                <a:cubicBezTo>
                  <a:pt x="579" y="127"/>
                  <a:pt x="584" y="127"/>
                  <a:pt x="587" y="125"/>
                </a:cubicBezTo>
                <a:cubicBezTo>
                  <a:pt x="591" y="122"/>
                  <a:pt x="592" y="117"/>
                  <a:pt x="589" y="113"/>
                </a:cubicBezTo>
                <a:cubicBezTo>
                  <a:pt x="583" y="104"/>
                  <a:pt x="575" y="95"/>
                  <a:pt x="565" y="88"/>
                </a:cubicBezTo>
                <a:cubicBezTo>
                  <a:pt x="561" y="85"/>
                  <a:pt x="556" y="86"/>
                  <a:pt x="553" y="90"/>
                </a:cubicBezTo>
                <a:cubicBezTo>
                  <a:pt x="550" y="93"/>
                  <a:pt x="551" y="98"/>
                  <a:pt x="555" y="101"/>
                </a:cubicBezTo>
                <a:cubicBezTo>
                  <a:pt x="563" y="107"/>
                  <a:pt x="570" y="115"/>
                  <a:pt x="576" y="123"/>
                </a:cubicBezTo>
                <a:close/>
                <a:moveTo>
                  <a:pt x="603" y="196"/>
                </a:moveTo>
                <a:cubicBezTo>
                  <a:pt x="604" y="201"/>
                  <a:pt x="609" y="204"/>
                  <a:pt x="613" y="203"/>
                </a:cubicBezTo>
                <a:cubicBezTo>
                  <a:pt x="618" y="202"/>
                  <a:pt x="620" y="198"/>
                  <a:pt x="620" y="193"/>
                </a:cubicBezTo>
                <a:cubicBezTo>
                  <a:pt x="618" y="182"/>
                  <a:pt x="615" y="171"/>
                  <a:pt x="612" y="161"/>
                </a:cubicBezTo>
                <a:cubicBezTo>
                  <a:pt x="610" y="156"/>
                  <a:pt x="606" y="153"/>
                  <a:pt x="601" y="155"/>
                </a:cubicBezTo>
                <a:cubicBezTo>
                  <a:pt x="597" y="156"/>
                  <a:pt x="595" y="161"/>
                  <a:pt x="596" y="165"/>
                </a:cubicBezTo>
                <a:cubicBezTo>
                  <a:pt x="599" y="175"/>
                  <a:pt x="602" y="186"/>
                  <a:pt x="603" y="196"/>
                </a:cubicBezTo>
                <a:close/>
                <a:moveTo>
                  <a:pt x="611" y="278"/>
                </a:moveTo>
                <a:cubicBezTo>
                  <a:pt x="611" y="282"/>
                  <a:pt x="615" y="286"/>
                  <a:pt x="619" y="286"/>
                </a:cubicBezTo>
                <a:cubicBezTo>
                  <a:pt x="624" y="286"/>
                  <a:pt x="627" y="282"/>
                  <a:pt x="627" y="278"/>
                </a:cubicBezTo>
                <a:cubicBezTo>
                  <a:pt x="627" y="273"/>
                  <a:pt x="625" y="249"/>
                  <a:pt x="625" y="244"/>
                </a:cubicBezTo>
                <a:cubicBezTo>
                  <a:pt x="625" y="239"/>
                  <a:pt x="621" y="236"/>
                  <a:pt x="616" y="236"/>
                </a:cubicBezTo>
                <a:cubicBezTo>
                  <a:pt x="612" y="236"/>
                  <a:pt x="608" y="240"/>
                  <a:pt x="608" y="244"/>
                </a:cubicBezTo>
                <a:cubicBezTo>
                  <a:pt x="609" y="249"/>
                  <a:pt x="611" y="273"/>
                  <a:pt x="611" y="278"/>
                </a:cubicBezTo>
                <a:close/>
                <a:moveTo>
                  <a:pt x="408" y="195"/>
                </a:moveTo>
                <a:cubicBezTo>
                  <a:pt x="410" y="192"/>
                  <a:pt x="409" y="187"/>
                  <a:pt x="405" y="184"/>
                </a:cubicBezTo>
                <a:cubicBezTo>
                  <a:pt x="405" y="184"/>
                  <a:pt x="404" y="183"/>
                  <a:pt x="403" y="183"/>
                </a:cubicBezTo>
                <a:lnTo>
                  <a:pt x="404" y="181"/>
                </a:lnTo>
                <a:cubicBezTo>
                  <a:pt x="405" y="177"/>
                  <a:pt x="403" y="172"/>
                  <a:pt x="399" y="170"/>
                </a:cubicBezTo>
                <a:cubicBezTo>
                  <a:pt x="399" y="170"/>
                  <a:pt x="398" y="170"/>
                  <a:pt x="398" y="170"/>
                </a:cubicBezTo>
                <a:lnTo>
                  <a:pt x="398" y="167"/>
                </a:lnTo>
                <a:cubicBezTo>
                  <a:pt x="399" y="163"/>
                  <a:pt x="397" y="158"/>
                  <a:pt x="392" y="157"/>
                </a:cubicBezTo>
                <a:cubicBezTo>
                  <a:pt x="388" y="156"/>
                  <a:pt x="383" y="158"/>
                  <a:pt x="382" y="163"/>
                </a:cubicBezTo>
                <a:cubicBezTo>
                  <a:pt x="379" y="174"/>
                  <a:pt x="377" y="184"/>
                  <a:pt x="375" y="196"/>
                </a:cubicBezTo>
                <a:cubicBezTo>
                  <a:pt x="374" y="199"/>
                  <a:pt x="376" y="202"/>
                  <a:pt x="378" y="204"/>
                </a:cubicBezTo>
                <a:lnTo>
                  <a:pt x="378" y="207"/>
                </a:lnTo>
                <a:cubicBezTo>
                  <a:pt x="377" y="210"/>
                  <a:pt x="378" y="213"/>
                  <a:pt x="379" y="215"/>
                </a:cubicBezTo>
                <a:lnTo>
                  <a:pt x="378" y="217"/>
                </a:lnTo>
                <a:cubicBezTo>
                  <a:pt x="377" y="222"/>
                  <a:pt x="379" y="226"/>
                  <a:pt x="383" y="228"/>
                </a:cubicBezTo>
                <a:cubicBezTo>
                  <a:pt x="387" y="230"/>
                  <a:pt x="392" y="228"/>
                  <a:pt x="394" y="224"/>
                </a:cubicBezTo>
                <a:cubicBezTo>
                  <a:pt x="398" y="214"/>
                  <a:pt x="402" y="204"/>
                  <a:pt x="408" y="195"/>
                </a:cubicBezTo>
                <a:close/>
                <a:moveTo>
                  <a:pt x="466" y="150"/>
                </a:moveTo>
                <a:cubicBezTo>
                  <a:pt x="471" y="149"/>
                  <a:pt x="474" y="145"/>
                  <a:pt x="473" y="140"/>
                </a:cubicBezTo>
                <a:cubicBezTo>
                  <a:pt x="472" y="136"/>
                  <a:pt x="468" y="133"/>
                  <a:pt x="463" y="134"/>
                </a:cubicBezTo>
                <a:cubicBezTo>
                  <a:pt x="451" y="136"/>
                  <a:pt x="440" y="141"/>
                  <a:pt x="430" y="148"/>
                </a:cubicBezTo>
                <a:cubicBezTo>
                  <a:pt x="426" y="151"/>
                  <a:pt x="425" y="156"/>
                  <a:pt x="428" y="160"/>
                </a:cubicBezTo>
                <a:cubicBezTo>
                  <a:pt x="430" y="164"/>
                  <a:pt x="436" y="165"/>
                  <a:pt x="439" y="162"/>
                </a:cubicBezTo>
                <a:cubicBezTo>
                  <a:pt x="447" y="156"/>
                  <a:pt x="457" y="152"/>
                  <a:pt x="466" y="150"/>
                </a:cubicBezTo>
                <a:close/>
                <a:moveTo>
                  <a:pt x="534" y="171"/>
                </a:moveTo>
                <a:cubicBezTo>
                  <a:pt x="537" y="175"/>
                  <a:pt x="542" y="175"/>
                  <a:pt x="546" y="172"/>
                </a:cubicBezTo>
                <a:cubicBezTo>
                  <a:pt x="549" y="169"/>
                  <a:pt x="549" y="164"/>
                  <a:pt x="546" y="161"/>
                </a:cubicBezTo>
                <a:cubicBezTo>
                  <a:pt x="538" y="151"/>
                  <a:pt x="528" y="144"/>
                  <a:pt x="517" y="139"/>
                </a:cubicBezTo>
                <a:cubicBezTo>
                  <a:pt x="512" y="138"/>
                  <a:pt x="508" y="140"/>
                  <a:pt x="506" y="144"/>
                </a:cubicBezTo>
                <a:cubicBezTo>
                  <a:pt x="504" y="148"/>
                  <a:pt x="506" y="153"/>
                  <a:pt x="511" y="155"/>
                </a:cubicBezTo>
                <a:cubicBezTo>
                  <a:pt x="511" y="155"/>
                  <a:pt x="529" y="166"/>
                  <a:pt x="534" y="171"/>
                </a:cubicBezTo>
                <a:close/>
                <a:moveTo>
                  <a:pt x="561" y="244"/>
                </a:moveTo>
                <a:cubicBezTo>
                  <a:pt x="561" y="248"/>
                  <a:pt x="566" y="251"/>
                  <a:pt x="570" y="251"/>
                </a:cubicBezTo>
                <a:cubicBezTo>
                  <a:pt x="575" y="250"/>
                  <a:pt x="578" y="246"/>
                  <a:pt x="577" y="241"/>
                </a:cubicBezTo>
                <a:cubicBezTo>
                  <a:pt x="576" y="230"/>
                  <a:pt x="573" y="219"/>
                  <a:pt x="570" y="208"/>
                </a:cubicBezTo>
                <a:cubicBezTo>
                  <a:pt x="569" y="203"/>
                  <a:pt x="565" y="201"/>
                  <a:pt x="560" y="202"/>
                </a:cubicBezTo>
                <a:cubicBezTo>
                  <a:pt x="556" y="203"/>
                  <a:pt x="553" y="208"/>
                  <a:pt x="554" y="212"/>
                </a:cubicBezTo>
                <a:cubicBezTo>
                  <a:pt x="557" y="222"/>
                  <a:pt x="559" y="233"/>
                  <a:pt x="561" y="244"/>
                </a:cubicBezTo>
                <a:close/>
                <a:moveTo>
                  <a:pt x="359" y="283"/>
                </a:moveTo>
                <a:cubicBezTo>
                  <a:pt x="359" y="282"/>
                  <a:pt x="359" y="280"/>
                  <a:pt x="359" y="279"/>
                </a:cubicBezTo>
                <a:cubicBezTo>
                  <a:pt x="359" y="272"/>
                  <a:pt x="358" y="266"/>
                  <a:pt x="358" y="259"/>
                </a:cubicBezTo>
                <a:cubicBezTo>
                  <a:pt x="358" y="258"/>
                  <a:pt x="358" y="257"/>
                  <a:pt x="358" y="256"/>
                </a:cubicBezTo>
                <a:cubicBezTo>
                  <a:pt x="358" y="253"/>
                  <a:pt x="358" y="250"/>
                  <a:pt x="357" y="247"/>
                </a:cubicBezTo>
                <a:cubicBezTo>
                  <a:pt x="357" y="242"/>
                  <a:pt x="360" y="238"/>
                  <a:pt x="365" y="238"/>
                </a:cubicBezTo>
                <a:cubicBezTo>
                  <a:pt x="367" y="238"/>
                  <a:pt x="370" y="239"/>
                  <a:pt x="371" y="240"/>
                </a:cubicBezTo>
                <a:cubicBezTo>
                  <a:pt x="373" y="239"/>
                  <a:pt x="375" y="238"/>
                  <a:pt x="377" y="238"/>
                </a:cubicBezTo>
                <a:cubicBezTo>
                  <a:pt x="382" y="238"/>
                  <a:pt x="385" y="242"/>
                  <a:pt x="385" y="247"/>
                </a:cubicBezTo>
                <a:cubicBezTo>
                  <a:pt x="385" y="250"/>
                  <a:pt x="385" y="253"/>
                  <a:pt x="385" y="256"/>
                </a:cubicBezTo>
                <a:cubicBezTo>
                  <a:pt x="385" y="257"/>
                  <a:pt x="385" y="258"/>
                  <a:pt x="385" y="259"/>
                </a:cubicBezTo>
                <a:cubicBezTo>
                  <a:pt x="384" y="266"/>
                  <a:pt x="384" y="272"/>
                  <a:pt x="384" y="279"/>
                </a:cubicBezTo>
                <a:cubicBezTo>
                  <a:pt x="384" y="280"/>
                  <a:pt x="384" y="282"/>
                  <a:pt x="383" y="283"/>
                </a:cubicBezTo>
                <a:cubicBezTo>
                  <a:pt x="383" y="288"/>
                  <a:pt x="384" y="294"/>
                  <a:pt x="380" y="298"/>
                </a:cubicBezTo>
                <a:cubicBezTo>
                  <a:pt x="380" y="299"/>
                  <a:pt x="380" y="300"/>
                  <a:pt x="380" y="301"/>
                </a:cubicBezTo>
                <a:cubicBezTo>
                  <a:pt x="380" y="312"/>
                  <a:pt x="363" y="312"/>
                  <a:pt x="363" y="301"/>
                </a:cubicBezTo>
                <a:cubicBezTo>
                  <a:pt x="363" y="300"/>
                  <a:pt x="363" y="299"/>
                  <a:pt x="363" y="298"/>
                </a:cubicBezTo>
                <a:cubicBezTo>
                  <a:pt x="358" y="294"/>
                  <a:pt x="359" y="288"/>
                  <a:pt x="359" y="283"/>
                </a:cubicBezTo>
                <a:close/>
                <a:moveTo>
                  <a:pt x="133" y="341"/>
                </a:moveTo>
                <a:cubicBezTo>
                  <a:pt x="93" y="343"/>
                  <a:pt x="93" y="326"/>
                  <a:pt x="93" y="307"/>
                </a:cubicBezTo>
                <a:cubicBezTo>
                  <a:pt x="93" y="299"/>
                  <a:pt x="93" y="291"/>
                  <a:pt x="88" y="286"/>
                </a:cubicBezTo>
                <a:cubicBezTo>
                  <a:pt x="88" y="286"/>
                  <a:pt x="86" y="284"/>
                  <a:pt x="86" y="283"/>
                </a:cubicBezTo>
                <a:cubicBezTo>
                  <a:pt x="85" y="280"/>
                  <a:pt x="87" y="277"/>
                  <a:pt x="90" y="276"/>
                </a:cubicBezTo>
                <a:cubicBezTo>
                  <a:pt x="103" y="272"/>
                  <a:pt x="117" y="272"/>
                  <a:pt x="128" y="282"/>
                </a:cubicBezTo>
                <a:cubicBezTo>
                  <a:pt x="134" y="287"/>
                  <a:pt x="139" y="295"/>
                  <a:pt x="142" y="304"/>
                </a:cubicBezTo>
                <a:cubicBezTo>
                  <a:pt x="145" y="314"/>
                  <a:pt x="145" y="324"/>
                  <a:pt x="145" y="334"/>
                </a:cubicBezTo>
                <a:cubicBezTo>
                  <a:pt x="148" y="330"/>
                  <a:pt x="151" y="327"/>
                  <a:pt x="154" y="324"/>
                </a:cubicBezTo>
                <a:cubicBezTo>
                  <a:pt x="160" y="320"/>
                  <a:pt x="168" y="317"/>
                  <a:pt x="178" y="319"/>
                </a:cubicBezTo>
                <a:cubicBezTo>
                  <a:pt x="181" y="319"/>
                  <a:pt x="185" y="320"/>
                  <a:pt x="189" y="321"/>
                </a:cubicBezTo>
                <a:cubicBezTo>
                  <a:pt x="193" y="323"/>
                  <a:pt x="194" y="328"/>
                  <a:pt x="191" y="331"/>
                </a:cubicBezTo>
                <a:cubicBezTo>
                  <a:pt x="179" y="345"/>
                  <a:pt x="192" y="373"/>
                  <a:pt x="146" y="365"/>
                </a:cubicBezTo>
                <a:lnTo>
                  <a:pt x="147" y="396"/>
                </a:lnTo>
                <a:cubicBezTo>
                  <a:pt x="147" y="399"/>
                  <a:pt x="144" y="402"/>
                  <a:pt x="141" y="402"/>
                </a:cubicBezTo>
                <a:cubicBezTo>
                  <a:pt x="138" y="402"/>
                  <a:pt x="135" y="400"/>
                  <a:pt x="135" y="396"/>
                </a:cubicBezTo>
                <a:lnTo>
                  <a:pt x="133" y="341"/>
                </a:lnTo>
                <a:close/>
                <a:moveTo>
                  <a:pt x="612" y="396"/>
                </a:moveTo>
                <a:cubicBezTo>
                  <a:pt x="613" y="399"/>
                  <a:pt x="610" y="402"/>
                  <a:pt x="606" y="402"/>
                </a:cubicBezTo>
                <a:cubicBezTo>
                  <a:pt x="603" y="402"/>
                  <a:pt x="600" y="400"/>
                  <a:pt x="600" y="396"/>
                </a:cubicBezTo>
                <a:lnTo>
                  <a:pt x="599" y="341"/>
                </a:lnTo>
                <a:cubicBezTo>
                  <a:pt x="559" y="343"/>
                  <a:pt x="559" y="326"/>
                  <a:pt x="559" y="307"/>
                </a:cubicBezTo>
                <a:cubicBezTo>
                  <a:pt x="559" y="303"/>
                  <a:pt x="558" y="298"/>
                  <a:pt x="558" y="294"/>
                </a:cubicBezTo>
                <a:cubicBezTo>
                  <a:pt x="556" y="288"/>
                  <a:pt x="552" y="287"/>
                  <a:pt x="551" y="283"/>
                </a:cubicBezTo>
                <a:cubicBezTo>
                  <a:pt x="550" y="280"/>
                  <a:pt x="552" y="277"/>
                  <a:pt x="555" y="276"/>
                </a:cubicBezTo>
                <a:cubicBezTo>
                  <a:pt x="569" y="272"/>
                  <a:pt x="583" y="272"/>
                  <a:pt x="594" y="282"/>
                </a:cubicBezTo>
                <a:cubicBezTo>
                  <a:pt x="600" y="287"/>
                  <a:pt x="604" y="295"/>
                  <a:pt x="607" y="304"/>
                </a:cubicBezTo>
                <a:cubicBezTo>
                  <a:pt x="609" y="311"/>
                  <a:pt x="611" y="319"/>
                  <a:pt x="611" y="328"/>
                </a:cubicBezTo>
                <a:lnTo>
                  <a:pt x="611" y="328"/>
                </a:lnTo>
                <a:lnTo>
                  <a:pt x="611" y="329"/>
                </a:lnTo>
                <a:lnTo>
                  <a:pt x="611" y="329"/>
                </a:lnTo>
                <a:lnTo>
                  <a:pt x="611" y="329"/>
                </a:lnTo>
                <a:lnTo>
                  <a:pt x="611" y="334"/>
                </a:lnTo>
                <a:cubicBezTo>
                  <a:pt x="613" y="330"/>
                  <a:pt x="616" y="327"/>
                  <a:pt x="619" y="324"/>
                </a:cubicBezTo>
                <a:cubicBezTo>
                  <a:pt x="630" y="316"/>
                  <a:pt x="642" y="317"/>
                  <a:pt x="654" y="321"/>
                </a:cubicBezTo>
                <a:cubicBezTo>
                  <a:pt x="657" y="322"/>
                  <a:pt x="659" y="326"/>
                  <a:pt x="658" y="329"/>
                </a:cubicBezTo>
                <a:cubicBezTo>
                  <a:pt x="658" y="330"/>
                  <a:pt x="657" y="331"/>
                  <a:pt x="656" y="331"/>
                </a:cubicBezTo>
                <a:cubicBezTo>
                  <a:pt x="644" y="345"/>
                  <a:pt x="658" y="373"/>
                  <a:pt x="612" y="365"/>
                </a:cubicBezTo>
                <a:lnTo>
                  <a:pt x="612" y="396"/>
                </a:lnTo>
                <a:close/>
                <a:moveTo>
                  <a:pt x="334" y="401"/>
                </a:moveTo>
                <a:lnTo>
                  <a:pt x="334" y="335"/>
                </a:lnTo>
                <a:cubicBezTo>
                  <a:pt x="334" y="321"/>
                  <a:pt x="345" y="310"/>
                  <a:pt x="359" y="310"/>
                </a:cubicBezTo>
                <a:lnTo>
                  <a:pt x="385" y="310"/>
                </a:lnTo>
                <a:cubicBezTo>
                  <a:pt x="399" y="310"/>
                  <a:pt x="410" y="321"/>
                  <a:pt x="410" y="335"/>
                </a:cubicBezTo>
                <a:lnTo>
                  <a:pt x="410" y="401"/>
                </a:lnTo>
                <a:cubicBezTo>
                  <a:pt x="455" y="401"/>
                  <a:pt x="501" y="403"/>
                  <a:pt x="547" y="405"/>
                </a:cubicBezTo>
                <a:cubicBezTo>
                  <a:pt x="607" y="408"/>
                  <a:pt x="667" y="412"/>
                  <a:pt x="727" y="418"/>
                </a:cubicBezTo>
                <a:cubicBezTo>
                  <a:pt x="737" y="418"/>
                  <a:pt x="744" y="427"/>
                  <a:pt x="743" y="437"/>
                </a:cubicBezTo>
                <a:cubicBezTo>
                  <a:pt x="742" y="446"/>
                  <a:pt x="734" y="454"/>
                  <a:pt x="724" y="453"/>
                </a:cubicBezTo>
                <a:cubicBezTo>
                  <a:pt x="665" y="447"/>
                  <a:pt x="605" y="443"/>
                  <a:pt x="545" y="440"/>
                </a:cubicBezTo>
                <a:cubicBezTo>
                  <a:pt x="486" y="437"/>
                  <a:pt x="426" y="436"/>
                  <a:pt x="365" y="436"/>
                </a:cubicBezTo>
                <a:cubicBezTo>
                  <a:pt x="306" y="436"/>
                  <a:pt x="249" y="437"/>
                  <a:pt x="192" y="440"/>
                </a:cubicBezTo>
                <a:cubicBezTo>
                  <a:pt x="134" y="442"/>
                  <a:pt x="77" y="446"/>
                  <a:pt x="20" y="451"/>
                </a:cubicBezTo>
                <a:cubicBezTo>
                  <a:pt x="10" y="452"/>
                  <a:pt x="2" y="445"/>
                  <a:pt x="1" y="435"/>
                </a:cubicBezTo>
                <a:cubicBezTo>
                  <a:pt x="0" y="426"/>
                  <a:pt x="7" y="417"/>
                  <a:pt x="17" y="416"/>
                </a:cubicBezTo>
                <a:cubicBezTo>
                  <a:pt x="75" y="411"/>
                  <a:pt x="133" y="407"/>
                  <a:pt x="191" y="405"/>
                </a:cubicBezTo>
                <a:cubicBezTo>
                  <a:pt x="239" y="402"/>
                  <a:pt x="286" y="401"/>
                  <a:pt x="334" y="401"/>
                </a:cubicBezTo>
                <a:lnTo>
                  <a:pt x="334" y="401"/>
                </a:lnTo>
              </a:path>
            </a:pathLst>
          </a:cu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fr-FR" sz="10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0" name="Freeform 7"/>
          <p:cNvSpPr/>
          <p:nvPr/>
        </p:nvSpPr>
        <p:spPr>
          <a:xfrm>
            <a:off x="7392336" y="4707623"/>
            <a:ext cx="1693957" cy="476426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21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905376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737755"/>
          </a:xfrm>
        </p:spPr>
        <p:txBody>
          <a:bodyPr>
            <a:normAutofit/>
          </a:bodyPr>
          <a:lstStyle/>
          <a:p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Algumas incidências territoriais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6</a:t>
            </a:fld>
            <a:endParaRPr lang="pt-BR"/>
          </a:p>
        </p:txBody>
      </p:sp>
      <p:sp>
        <p:nvSpPr>
          <p:cNvPr id="6" name="Freeform 10"/>
          <p:cNvSpPr/>
          <p:nvPr/>
        </p:nvSpPr>
        <p:spPr>
          <a:xfrm>
            <a:off x="465762" y="737755"/>
            <a:ext cx="3732165" cy="3439427"/>
          </a:xfrm>
          <a:custGeom>
            <a:avLst/>
            <a:gdLst/>
            <a:ahLst/>
            <a:cxnLst/>
            <a:rect l="l" t="t" r="r" b="b"/>
            <a:pathLst>
              <a:path w="7717351" h="7509476">
                <a:moveTo>
                  <a:pt x="0" y="0"/>
                </a:moveTo>
                <a:lnTo>
                  <a:pt x="7717351" y="0"/>
                </a:lnTo>
                <a:lnTo>
                  <a:pt x="7717351" y="7509476"/>
                </a:lnTo>
                <a:lnTo>
                  <a:pt x="0" y="7509476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pt-BR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46EB9A49-4C96-3C96-E155-A34A2D1567BE}"/>
              </a:ext>
            </a:extLst>
          </p:cNvPr>
          <p:cNvSpPr txBox="1"/>
          <p:nvPr/>
        </p:nvSpPr>
        <p:spPr>
          <a:xfrm>
            <a:off x="207818" y="4428709"/>
            <a:ext cx="4478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kern="0" dirty="0">
                <a:solidFill>
                  <a:schemeClr val="accent1">
                    <a:lumMod val="75000"/>
                  </a:schemeClr>
                </a:solidFill>
                <a:effectLst/>
                <a:latin typeface="Epilogue" panose="020B0604020202020204" charset="0"/>
                <a:ea typeface="Calibri" panose="020F0502020204030204" pitchFamily="34" charset="0"/>
              </a:rPr>
              <a:t>Territórios destinados à reforma agrária</a:t>
            </a:r>
            <a:endParaRPr lang="pt-BR" sz="1600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4800600" y="737755"/>
            <a:ext cx="3877638" cy="3439427"/>
          </a:xfrm>
          <a:custGeom>
            <a:avLst/>
            <a:gdLst/>
            <a:ahLst/>
            <a:cxnLst/>
            <a:rect l="l" t="t" r="r" b="b"/>
            <a:pathLst>
              <a:path w="6283514" h="6412011">
                <a:moveTo>
                  <a:pt x="0" y="0"/>
                </a:moveTo>
                <a:lnTo>
                  <a:pt x="6283514" y="0"/>
                </a:lnTo>
                <a:lnTo>
                  <a:pt x="6283514" y="6412011"/>
                </a:lnTo>
                <a:lnTo>
                  <a:pt x="0" y="641201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pt-BR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C794798D-A9EC-30BB-623B-7F27BFD48CEF}"/>
              </a:ext>
            </a:extLst>
          </p:cNvPr>
          <p:cNvSpPr txBox="1"/>
          <p:nvPr/>
        </p:nvSpPr>
        <p:spPr>
          <a:xfrm>
            <a:off x="4800600" y="4428709"/>
            <a:ext cx="39433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  <a:cs typeface="Arial" panose="020B0604020202020204" pitchFamily="34" charset="0"/>
              </a:rPr>
              <a:t>Terras indígenas</a:t>
            </a:r>
          </a:p>
        </p:txBody>
      </p:sp>
      <p:sp>
        <p:nvSpPr>
          <p:cNvPr id="13" name="Freeform 7"/>
          <p:cNvSpPr/>
          <p:nvPr/>
        </p:nvSpPr>
        <p:spPr>
          <a:xfrm>
            <a:off x="7392336" y="4707623"/>
            <a:ext cx="1693957" cy="476426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424330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737755"/>
          </a:xfrm>
        </p:spPr>
        <p:txBody>
          <a:bodyPr>
            <a:normAutofit/>
          </a:bodyPr>
          <a:lstStyle/>
          <a:p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Algumas incidências territoriais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7</a:t>
            </a:fld>
            <a:endParaRPr lang="pt-B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46EB9A49-4C96-3C96-E155-A34A2D1567BE}"/>
              </a:ext>
            </a:extLst>
          </p:cNvPr>
          <p:cNvSpPr txBox="1"/>
          <p:nvPr/>
        </p:nvSpPr>
        <p:spPr>
          <a:xfrm>
            <a:off x="540326" y="4683953"/>
            <a:ext cx="42602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kern="0" dirty="0">
                <a:solidFill>
                  <a:schemeClr val="accent1">
                    <a:lumMod val="75000"/>
                  </a:schemeClr>
                </a:solidFill>
                <a:effectLst/>
                <a:latin typeface="Epilogue" panose="020B0604020202020204" charset="0"/>
                <a:ea typeface="Calibri" panose="020F0502020204030204" pitchFamily="34" charset="0"/>
              </a:rPr>
              <a:t>Unidades de Conservação</a:t>
            </a:r>
            <a:endParaRPr lang="pt-BR" sz="1600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C794798D-A9EC-30BB-623B-7F27BFD48CEF}"/>
              </a:ext>
            </a:extLst>
          </p:cNvPr>
          <p:cNvSpPr txBox="1"/>
          <p:nvPr/>
        </p:nvSpPr>
        <p:spPr>
          <a:xfrm>
            <a:off x="4886745" y="4597986"/>
            <a:ext cx="39433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  <a:cs typeface="Arial" panose="020B0604020202020204" pitchFamily="34" charset="0"/>
              </a:rPr>
              <a:t>Regiões Hidrográficas</a:t>
            </a:r>
          </a:p>
        </p:txBody>
      </p:sp>
      <p:sp>
        <p:nvSpPr>
          <p:cNvPr id="8" name="Freeform 10">
            <a:extLst>
              <a:ext uri="{FF2B5EF4-FFF2-40B4-BE49-F238E27FC236}">
                <a16:creationId xmlns:a16="http://schemas.microsoft.com/office/drawing/2014/main" id="{E18A168E-036B-2F9E-62C7-80DD22C03785}"/>
              </a:ext>
            </a:extLst>
          </p:cNvPr>
          <p:cNvSpPr/>
          <p:nvPr/>
        </p:nvSpPr>
        <p:spPr>
          <a:xfrm>
            <a:off x="1166379" y="695110"/>
            <a:ext cx="3008168" cy="3902876"/>
          </a:xfrm>
          <a:custGeom>
            <a:avLst/>
            <a:gdLst/>
            <a:ahLst/>
            <a:cxnLst/>
            <a:rect l="l" t="t" r="r" b="b"/>
            <a:pathLst>
              <a:path w="7391598" h="8478598">
                <a:moveTo>
                  <a:pt x="0" y="0"/>
                </a:moveTo>
                <a:lnTo>
                  <a:pt x="7391598" y="0"/>
                </a:lnTo>
                <a:lnTo>
                  <a:pt x="7391598" y="8478598"/>
                </a:lnTo>
                <a:lnTo>
                  <a:pt x="0" y="8478598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pt-BR"/>
          </a:p>
        </p:txBody>
      </p:sp>
      <p:sp>
        <p:nvSpPr>
          <p:cNvPr id="9" name="Freeform 10"/>
          <p:cNvSpPr/>
          <p:nvPr/>
        </p:nvSpPr>
        <p:spPr>
          <a:xfrm>
            <a:off x="5076798" y="695109"/>
            <a:ext cx="3651566" cy="3798309"/>
          </a:xfrm>
          <a:custGeom>
            <a:avLst/>
            <a:gdLst/>
            <a:ahLst/>
            <a:cxnLst/>
            <a:rect l="l" t="t" r="r" b="b"/>
            <a:pathLst>
              <a:path w="8133875" h="8478598">
                <a:moveTo>
                  <a:pt x="0" y="0"/>
                </a:moveTo>
                <a:lnTo>
                  <a:pt x="8133876" y="0"/>
                </a:lnTo>
                <a:lnTo>
                  <a:pt x="8133876" y="8478598"/>
                </a:lnTo>
                <a:lnTo>
                  <a:pt x="0" y="8478598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t="-1007" b="-1007"/>
            </a:stretch>
          </a:blipFill>
        </p:spPr>
        <p:txBody>
          <a:bodyPr/>
          <a:lstStyle/>
          <a:p>
            <a:endParaRPr lang="pt-BR"/>
          </a:p>
        </p:txBody>
      </p:sp>
      <p:sp>
        <p:nvSpPr>
          <p:cNvPr id="13" name="Freeform 7"/>
          <p:cNvSpPr/>
          <p:nvPr/>
        </p:nvSpPr>
        <p:spPr>
          <a:xfrm>
            <a:off x="7450043" y="4712101"/>
            <a:ext cx="1693957" cy="476426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007395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737755"/>
          </a:xfrm>
        </p:spPr>
        <p:txBody>
          <a:bodyPr>
            <a:normAutofit/>
          </a:bodyPr>
          <a:lstStyle/>
          <a:p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Algumas incidências territoriais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6F28A-D5AD-417D-8195-24A21D7DEA10}" type="slidenum">
              <a:rPr lang="pt-BR" smtClean="0"/>
              <a:t>8</a:t>
            </a:fld>
            <a:endParaRPr lang="pt-BR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46EB9A49-4C96-3C96-E155-A34A2D1567BE}"/>
              </a:ext>
            </a:extLst>
          </p:cNvPr>
          <p:cNvSpPr txBox="1"/>
          <p:nvPr/>
        </p:nvSpPr>
        <p:spPr>
          <a:xfrm>
            <a:off x="93517" y="4597986"/>
            <a:ext cx="42602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kern="0" dirty="0">
                <a:solidFill>
                  <a:schemeClr val="accent1">
                    <a:lumMod val="75000"/>
                  </a:schemeClr>
                </a:solidFill>
                <a:effectLst/>
                <a:latin typeface="Epilogue" panose="020B0604020202020204" charset="0"/>
                <a:ea typeface="Calibri" panose="020F0502020204030204" pitchFamily="34" charset="0"/>
              </a:rPr>
              <a:t>Regiões Metropolitanas</a:t>
            </a:r>
            <a:endParaRPr lang="pt-BR" sz="1600" b="1" dirty="0">
              <a:solidFill>
                <a:schemeClr val="accent1">
                  <a:lumMod val="75000"/>
                </a:schemeClr>
              </a:solidFill>
              <a:latin typeface="Epilogue" panose="020B0604020202020204" charset="0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C794798D-A9EC-30BB-623B-7F27BFD48CEF}"/>
              </a:ext>
            </a:extLst>
          </p:cNvPr>
          <p:cNvSpPr txBox="1"/>
          <p:nvPr/>
        </p:nvSpPr>
        <p:spPr>
          <a:xfrm>
            <a:off x="4886745" y="4597986"/>
            <a:ext cx="39433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  <a:cs typeface="Arial" panose="020B0604020202020204" pitchFamily="34" charset="0"/>
              </a:rPr>
              <a:t>Regiões Turísticas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A009C878-DF92-4984-9F19-CC945115B0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09319"/>
            <a:ext cx="4035713" cy="3688772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DA5D9190-13D8-4BC9-B920-ED91F038D6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4955" y="866469"/>
            <a:ext cx="4879045" cy="3574472"/>
          </a:xfrm>
          <a:prstGeom prst="rect">
            <a:avLst/>
          </a:prstGeom>
        </p:spPr>
      </p:pic>
      <p:sp>
        <p:nvSpPr>
          <p:cNvPr id="14" name="Freeform 7"/>
          <p:cNvSpPr/>
          <p:nvPr/>
        </p:nvSpPr>
        <p:spPr>
          <a:xfrm>
            <a:off x="7419109" y="4717473"/>
            <a:ext cx="1667184" cy="466576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206401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3154DDC-C179-4AB2-A384-DAE733D602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691" y="135082"/>
            <a:ext cx="8883841" cy="904009"/>
          </a:xfrm>
        </p:spPr>
        <p:txBody>
          <a:bodyPr/>
          <a:lstStyle/>
          <a:p>
            <a:r>
              <a:rPr lang="pt-BR" sz="32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POLÍTICAS QUE INFLUENCIAM O TERRITÓRIO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850CBB5-EAEF-4281-ADC7-E3A4D54037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691" y="820883"/>
            <a:ext cx="8790323" cy="3781310"/>
          </a:xfrm>
        </p:spPr>
        <p:txBody>
          <a:bodyPr/>
          <a:lstStyle/>
          <a:p>
            <a:r>
              <a:rPr lang="pt-BR" sz="20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Aquelas que exprimem a dimensão espacial, seja na escala nacional, regional ou em áreas geográficas especificas, podem ter um corte específico ou se constituírem em instrumentos de planejamento intersetorial;</a:t>
            </a:r>
          </a:p>
          <a:p>
            <a:r>
              <a:rPr lang="pt-BR" sz="20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Aquelas não explicitam, mas dinamizam e, portanto, alteram a organização territorial, trazendo diferentes impactos que podem passar despercebidos como resultados da intervenção, que muitas vezes é setorial;</a:t>
            </a:r>
          </a:p>
          <a:p>
            <a:r>
              <a:rPr lang="pt-BR" sz="2000" b="1" dirty="0">
                <a:solidFill>
                  <a:schemeClr val="accent1">
                    <a:lumMod val="75000"/>
                  </a:schemeClr>
                </a:solidFill>
                <a:latin typeface="Epilogue" panose="020B0604020202020204" charset="0"/>
              </a:rPr>
              <a:t>Aquelas que tendem a impor suas lógicas, dependendo de sua natureza, extensão e intensidade de sua implementação e dos atores envolvidos.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1A9B2855-E888-4D28-8A8E-167ACF8D867E}"/>
              </a:ext>
            </a:extLst>
          </p:cNvPr>
          <p:cNvSpPr>
            <a:spLocks noGrp="1"/>
          </p:cNvSpPr>
          <p:nvPr>
            <p:ph type="sldNum" idx="4294967295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mtClean="0"/>
              <a:t>9</a:t>
            </a:fld>
            <a:endParaRPr lang="pt-BR"/>
          </a:p>
        </p:txBody>
      </p:sp>
      <p:sp>
        <p:nvSpPr>
          <p:cNvPr id="5" name="Freeform 7"/>
          <p:cNvSpPr/>
          <p:nvPr/>
        </p:nvSpPr>
        <p:spPr>
          <a:xfrm>
            <a:off x="7392336" y="4707623"/>
            <a:ext cx="1693957" cy="476426"/>
          </a:xfrm>
          <a:custGeom>
            <a:avLst/>
            <a:gdLst/>
            <a:ahLst/>
            <a:cxnLst/>
            <a:rect l="l" t="t" r="r" b="b"/>
            <a:pathLst>
              <a:path w="3387913" h="952851">
                <a:moveTo>
                  <a:pt x="0" y="0"/>
                </a:moveTo>
                <a:lnTo>
                  <a:pt x="3387914" y="0"/>
                </a:lnTo>
                <a:lnTo>
                  <a:pt x="3387914" y="952850"/>
                </a:lnTo>
                <a:lnTo>
                  <a:pt x="0" y="95285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defTabSz="685800">
              <a:defRPr/>
            </a:pPr>
            <a:endParaRPr lang="pt-BR" sz="13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352728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griculture*farming*field*food*grain*wheat*industry*countryside*rural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olien*wind*energy*sustainability*windmill*wind turbine*renewables*power*global warming*environmen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rain_POWER_USER_SEPARATOR_ICONS_engine_POWER_USER_SEPARATOR_ICONS_railroad_POWER_USER_SEPARATOR_ICONS_tracks_POWER_USER_SEPARATOR_ICONS_train-station_POWER_USER_SEPARATOR_ICONS_transporta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m*water*energy*electricity*power*renewable*sustainable*recycle*global warming*environment*hydroelectricity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griculture*farming*field*food*grain*wheat*industry*countryside*rural*irrigation*growing*plants*water*production*weath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rain_POWER_USER_SEPARATOR_ICONS_engine_POWER_USER_SEPARATOR_ICONS_railroad_POWER_USER_SEPARATOR_ICONS_tracks_POWER_USER_SEPARATOR_ICONS_train-station_POWER_USER_SEPARATOR_ICONS_transportati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rain_POWER_USER_SEPARATOR_ICONS_engine_POWER_USER_SEPARATOR_ICONS_railroad_POWER_USER_SEPARATOR_ICONS_tracks_POWER_USER_SEPARATOR_ICONS_train-station_POWER_USER_SEPARATOR_ICONS_transportati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wer-lines_POWER_USER_SEPARATOR_ICONS_electricity_POWER_USER_SEPARATOR_ICONS_energy_POWER_USER_SEPARATOR_ICONS_pole_POWER_USER_SEPARATOR_ICONS_power_POWER_USER_SEPARATOR_ICONS_telegraph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wer-lines_POWER_USER_SEPARATOR_ICONS_electricity_POWER_USER_SEPARATOR_ICONS_energy_POWER_USER_SEPARATOR_ICONS_pole_POWER_USER_SEPARATOR_ICONS_power_POWER_USER_SEPARATOR_ICONS_telegraph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wer-lines_POWER_USER_SEPARATOR_ICONS_electricity_POWER_USER_SEPARATOR_ICONS_energy_POWER_USER_SEPARATOR_ICONS_pole_POWER_USER_SEPARATOR_ICONS_power_POWER_USER_SEPARATOR_ICONS_telegraph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wer-lines_POWER_USER_SEPARATOR_ICONS_electricity_POWER_USER_SEPARATOR_ICONS_energy_POWER_USER_SEPARATOR_ICONS_pole_POWER_USER_SEPARATOR_ICONS_power_POWER_USER_SEPARATOR_ICONS_telegrap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rt*anchor*boat*harbor**infrastructure*logistics*ocean*water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wer-lines_POWER_USER_SEPARATOR_ICONS_electricity_POWER_USER_SEPARATOR_ICONS_energy_POWER_USER_SEPARATOR_ICONS_pole_POWER_USER_SEPARATOR_ICONS_power_POWER_USER_SEPARATOR_ICONS_telegraph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rotest*boycott*government*movement*politics*protesting*sign*social*strike*gathering*labor strike*solidarity*union*march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oad*car*drive*highway*infrastructure*street*travel*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ell*underground*resources*oil*extraction*production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1129E13B0B49E489EC02715614AB7AD" ma:contentTypeVersion="14" ma:contentTypeDescription="Crie um novo documento." ma:contentTypeScope="" ma:versionID="68c451824d20f156739e2dc5d7f00fd7">
  <xsd:schema xmlns:xsd="http://www.w3.org/2001/XMLSchema" xmlns:xs="http://www.w3.org/2001/XMLSchema" xmlns:p="http://schemas.microsoft.com/office/2006/metadata/properties" xmlns:ns2="6b807202-c153-4570-a6d3-fa385859df5b" xmlns:ns3="3cbd34ef-82cb-41b8-b961-97a46f93baad" targetNamespace="http://schemas.microsoft.com/office/2006/metadata/properties" ma:root="true" ma:fieldsID="295e6d5cbb5172b4efc4a0bf5eab3c99" ns2:_="" ns3:_="">
    <xsd:import namespace="6b807202-c153-4570-a6d3-fa385859df5b"/>
    <xsd:import namespace="3cbd34ef-82cb-41b8-b961-97a46f93baa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807202-c153-4570-a6d3-fa385859df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Marcações de imagem" ma:readOnly="false" ma:fieldId="{5cf76f15-5ced-4ddc-b409-7134ff3c332f}" ma:taxonomyMulti="true" ma:sspId="5fd7c703-4c59-4b94-8590-81cf4c39697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bd34ef-82cb-41b8-b961-97a46f93baa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65d06381-9fbe-4428-9574-363b31b26185}" ma:internalName="TaxCatchAll" ma:showField="CatchAllData" ma:web="3cbd34ef-82cb-41b8-b961-97a46f93baa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cbd34ef-82cb-41b8-b961-97a46f93baad" xsi:nil="true"/>
    <lcf76f155ced4ddcb4097134ff3c332f xmlns="6b807202-c153-4570-a6d3-fa385859df5b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9380742-F501-4C11-83DE-B4CA8DCD74B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807202-c153-4570-a6d3-fa385859df5b"/>
    <ds:schemaRef ds:uri="3cbd34ef-82cb-41b8-b961-97a46f93baa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FDB8B50-060F-4FBE-A106-B594D29D506B}">
  <ds:schemaRefs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3cbd34ef-82cb-41b8-b961-97a46f93baad"/>
    <ds:schemaRef ds:uri="6b807202-c153-4570-a6d3-fa385859df5b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B48545F-4FE6-48F3-B3D5-8C39059AEFF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11</TotalTime>
  <Words>746</Words>
  <Application>Microsoft Office PowerPoint</Application>
  <PresentationFormat>Apresentação na tela (16:9)</PresentationFormat>
  <Paragraphs>96</Paragraphs>
  <Slides>15</Slides>
  <Notes>2</Notes>
  <HiddenSlides>0</HiddenSlides>
  <MMClips>0</MMClips>
  <ScaleCrop>false</ScaleCrop>
  <HeadingPairs>
    <vt:vector size="6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5</vt:i4>
      </vt:variant>
    </vt:vector>
  </HeadingPairs>
  <TitlesOfParts>
    <vt:vector size="23" baseType="lpstr">
      <vt:lpstr>Arial Bold</vt:lpstr>
      <vt:lpstr>Nunito Light</vt:lpstr>
      <vt:lpstr>Arial</vt:lpstr>
      <vt:lpstr>Aptos Display</vt:lpstr>
      <vt:lpstr>Epilogue</vt:lpstr>
      <vt:lpstr>Calibri</vt:lpstr>
      <vt:lpstr>Aptos</vt:lpstr>
      <vt:lpstr>Tema do Office</vt:lpstr>
      <vt:lpstr>Apresentação do PowerPoint</vt:lpstr>
      <vt:lpstr>A PNOT em três momentos</vt:lpstr>
      <vt:lpstr>Apresentação do PowerPoint</vt:lpstr>
      <vt:lpstr>Apresentação do PowerPoint</vt:lpstr>
      <vt:lpstr>A DIMENSÃO TERRITORIAL NAS POLÍTICAS PÚBLICAS É UM WICKED PROBLEM</vt:lpstr>
      <vt:lpstr>Algumas incidências territoriais </vt:lpstr>
      <vt:lpstr>Algumas incidências territoriais </vt:lpstr>
      <vt:lpstr>Algumas incidências territoriais </vt:lpstr>
      <vt:lpstr>POLÍTICAS QUE INFLUENCIAM O TERRITÓRIO</vt:lpstr>
      <vt:lpstr>Apresentação do PowerPoint</vt:lpstr>
      <vt:lpstr>A retomada deve levar em consideração</vt:lpstr>
      <vt:lpstr>Alicerces teóricos que dão operacionalidade a PNOT na contemporaneidade</vt:lpstr>
      <vt:lpstr>O exercício de olhar para o Brasil a partir de experiências internacionais </vt:lpstr>
      <vt:lpstr>A concepção da PNOT deverá: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DADES INTERMEDIADORAS</dc:title>
  <dc:creator>Lara Caracciolo Amorelli</dc:creator>
  <cp:lastModifiedBy>João Mendes da Rocha Neto</cp:lastModifiedBy>
  <cp:revision>215</cp:revision>
  <cp:lastPrinted>2023-09-28T12:33:48Z</cp:lastPrinted>
  <dcterms:modified xsi:type="dcterms:W3CDTF">2025-03-18T20:2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129E13B0B49E489EC02715614AB7AD</vt:lpwstr>
  </property>
  <property fmtid="{D5CDD505-2E9C-101B-9397-08002B2CF9AE}" pid="3" name="MediaServiceImageTags">
    <vt:lpwstr/>
  </property>
</Properties>
</file>